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947" r:id="rId1"/>
    <p:sldMasterId id="2147484024" r:id="rId2"/>
    <p:sldMasterId id="2147484036" r:id="rId3"/>
  </p:sldMasterIdLst>
  <p:notesMasterIdLst>
    <p:notesMasterId r:id="rId121"/>
  </p:notesMasterIdLst>
  <p:handoutMasterIdLst>
    <p:handoutMasterId r:id="rId122"/>
  </p:handoutMasterIdLst>
  <p:sldIdLst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290" r:id="rId37"/>
    <p:sldId id="291" r:id="rId38"/>
    <p:sldId id="292" r:id="rId39"/>
    <p:sldId id="293" r:id="rId40"/>
    <p:sldId id="294" r:id="rId41"/>
    <p:sldId id="295" r:id="rId42"/>
    <p:sldId id="296" r:id="rId43"/>
    <p:sldId id="297" r:id="rId44"/>
    <p:sldId id="298" r:id="rId45"/>
    <p:sldId id="299" r:id="rId46"/>
    <p:sldId id="300" r:id="rId47"/>
    <p:sldId id="301" r:id="rId48"/>
    <p:sldId id="302" r:id="rId49"/>
    <p:sldId id="303" r:id="rId50"/>
    <p:sldId id="304" r:id="rId51"/>
    <p:sldId id="305" r:id="rId52"/>
    <p:sldId id="306" r:id="rId53"/>
    <p:sldId id="307" r:id="rId54"/>
    <p:sldId id="308" r:id="rId55"/>
    <p:sldId id="309" r:id="rId56"/>
    <p:sldId id="310" r:id="rId57"/>
    <p:sldId id="311" r:id="rId58"/>
    <p:sldId id="312" r:id="rId59"/>
    <p:sldId id="313" r:id="rId60"/>
    <p:sldId id="314" r:id="rId61"/>
    <p:sldId id="315" r:id="rId62"/>
    <p:sldId id="316" r:id="rId63"/>
    <p:sldId id="317" r:id="rId64"/>
    <p:sldId id="318" r:id="rId65"/>
    <p:sldId id="319" r:id="rId66"/>
    <p:sldId id="320" r:id="rId67"/>
    <p:sldId id="321" r:id="rId68"/>
    <p:sldId id="322" r:id="rId69"/>
    <p:sldId id="323" r:id="rId70"/>
    <p:sldId id="324" r:id="rId71"/>
    <p:sldId id="325" r:id="rId72"/>
    <p:sldId id="326" r:id="rId73"/>
    <p:sldId id="327" r:id="rId74"/>
    <p:sldId id="328" r:id="rId75"/>
    <p:sldId id="329" r:id="rId76"/>
    <p:sldId id="330" r:id="rId77"/>
    <p:sldId id="331" r:id="rId78"/>
    <p:sldId id="332" r:id="rId79"/>
    <p:sldId id="333" r:id="rId80"/>
    <p:sldId id="334" r:id="rId81"/>
    <p:sldId id="335" r:id="rId82"/>
    <p:sldId id="336" r:id="rId83"/>
    <p:sldId id="337" r:id="rId84"/>
    <p:sldId id="338" r:id="rId85"/>
    <p:sldId id="339" r:id="rId86"/>
    <p:sldId id="340" r:id="rId87"/>
    <p:sldId id="341" r:id="rId88"/>
    <p:sldId id="342" r:id="rId89"/>
    <p:sldId id="343" r:id="rId90"/>
    <p:sldId id="344" r:id="rId91"/>
    <p:sldId id="345" r:id="rId92"/>
    <p:sldId id="346" r:id="rId93"/>
    <p:sldId id="347" r:id="rId94"/>
    <p:sldId id="348" r:id="rId95"/>
    <p:sldId id="349" r:id="rId96"/>
    <p:sldId id="350" r:id="rId97"/>
    <p:sldId id="351" r:id="rId98"/>
    <p:sldId id="352" r:id="rId99"/>
    <p:sldId id="353" r:id="rId100"/>
    <p:sldId id="354" r:id="rId101"/>
    <p:sldId id="355" r:id="rId102"/>
    <p:sldId id="356" r:id="rId103"/>
    <p:sldId id="357" r:id="rId104"/>
    <p:sldId id="358" r:id="rId105"/>
    <p:sldId id="359" r:id="rId106"/>
    <p:sldId id="360" r:id="rId107"/>
    <p:sldId id="361" r:id="rId108"/>
    <p:sldId id="362" r:id="rId109"/>
    <p:sldId id="363" r:id="rId110"/>
    <p:sldId id="364" r:id="rId111"/>
    <p:sldId id="365" r:id="rId112"/>
    <p:sldId id="366" r:id="rId113"/>
    <p:sldId id="367" r:id="rId114"/>
    <p:sldId id="368" r:id="rId115"/>
    <p:sldId id="369" r:id="rId116"/>
    <p:sldId id="370" r:id="rId117"/>
    <p:sldId id="371" r:id="rId118"/>
    <p:sldId id="372" r:id="rId119"/>
    <p:sldId id="373" r:id="rId120"/>
  </p:sldIdLst>
  <p:sldSz cx="12192000" cy="6858000"/>
  <p:notesSz cx="7010400" cy="9296400"/>
  <p:custDataLst>
    <p:tags r:id="rId1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1pPr>
    <a:lvl2pPr marL="455613" indent="1588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2pPr>
    <a:lvl3pPr marL="912813" indent="1588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3pPr>
    <a:lvl4pPr marL="1370013" indent="1588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4pPr>
    <a:lvl5pPr marL="1827213" indent="1588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Verdana" pitchFamily="-105" charset="0"/>
        <a:ea typeface="ＭＳ Ｐゴシック" pitchFamily="-105" charset="-128"/>
        <a:cs typeface="ＭＳ Ｐゴシック" pitchFamily="-105" charset="-128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4656" userDrawn="1">
          <p15:clr>
            <a:srgbClr val="A4A3A4"/>
          </p15:clr>
        </p15:guide>
        <p15:guide id="4" orient="horz" pos="3864" userDrawn="1">
          <p15:clr>
            <a:srgbClr val="A4A3A4"/>
          </p15:clr>
        </p15:guide>
        <p15:guide id="5" orient="horz" pos="2784" userDrawn="1">
          <p15:clr>
            <a:srgbClr val="A4A3A4"/>
          </p15:clr>
        </p15:guide>
        <p15:guide id="6" orient="horz" pos="3048" userDrawn="1">
          <p15:clr>
            <a:srgbClr val="A4A3A4"/>
          </p15:clr>
        </p15:guide>
        <p15:guide id="7" orient="horz" pos="1320" userDrawn="1">
          <p15:clr>
            <a:srgbClr val="A4A3A4"/>
          </p15:clr>
        </p15:guide>
        <p15:guide id="9" pos="6789" userDrawn="1">
          <p15:clr>
            <a:srgbClr val="A4A3A4"/>
          </p15:clr>
        </p15:guide>
        <p15:guide id="10" pos="1716" userDrawn="1">
          <p15:clr>
            <a:srgbClr val="A4A3A4"/>
          </p15:clr>
        </p15:guide>
        <p15:guide id="12" pos="5640" userDrawn="1">
          <p15:clr>
            <a:srgbClr val="A4A3A4"/>
          </p15:clr>
        </p15:guide>
        <p15:guide id="13" orient="horz" pos="2448" userDrawn="1">
          <p15:clr>
            <a:srgbClr val="A4A3A4"/>
          </p15:clr>
        </p15:guide>
        <p15:guide id="14" orient="horz" pos="4320" userDrawn="1">
          <p15:clr>
            <a:srgbClr val="A4A3A4"/>
          </p15:clr>
        </p15:guide>
        <p15:guide id="15" orient="horz" pos="2088" userDrawn="1">
          <p15:clr>
            <a:srgbClr val="A4A3A4"/>
          </p15:clr>
        </p15:guide>
        <p15:guide id="16" pos="5472" userDrawn="1">
          <p15:clr>
            <a:srgbClr val="A4A3A4"/>
          </p15:clr>
        </p15:guide>
        <p15:guide id="17" orient="horz" pos="3840" userDrawn="1">
          <p15:clr>
            <a:srgbClr val="A4A3A4"/>
          </p15:clr>
        </p15:guide>
        <p15:guide id="18" pos="1050" userDrawn="1">
          <p15:clr>
            <a:srgbClr val="A4A3A4"/>
          </p15:clr>
        </p15:guide>
        <p15:guide id="19" pos="6984" userDrawn="1">
          <p15:clr>
            <a:srgbClr val="A4A3A4"/>
          </p15:clr>
        </p15:guide>
        <p15:guide id="20" pos="696" userDrawn="1">
          <p15:clr>
            <a:srgbClr val="A4A3A4"/>
          </p15:clr>
        </p15:guide>
        <p15:guide id="21" orient="horz" pos="3807">
          <p15:clr>
            <a:srgbClr val="A4A3A4"/>
          </p15:clr>
        </p15:guide>
        <p15:guide id="22" orient="horz" pos="792">
          <p15:clr>
            <a:srgbClr val="A4A3A4"/>
          </p15:clr>
        </p15:guide>
        <p15:guide id="23" orient="horz" pos="3921">
          <p15:clr>
            <a:srgbClr val="A4A3A4"/>
          </p15:clr>
        </p15:guide>
        <p15:guide id="24" orient="horz" pos="4227">
          <p15:clr>
            <a:srgbClr val="A4A3A4"/>
          </p15:clr>
        </p15:guide>
        <p15:guide id="25" orient="horz" pos="3677">
          <p15:clr>
            <a:srgbClr val="A4A3A4"/>
          </p15:clr>
        </p15:guide>
        <p15:guide id="26" orient="horz" pos="1215">
          <p15:clr>
            <a:srgbClr val="A4A3A4"/>
          </p15:clr>
        </p15:guide>
        <p15:guide id="27" pos="3999">
          <p15:clr>
            <a:srgbClr val="A4A3A4"/>
          </p15:clr>
        </p15:guide>
        <p15:guide id="28" pos="1764">
          <p15:clr>
            <a:srgbClr val="A4A3A4"/>
          </p15:clr>
        </p15:guide>
        <p15:guide id="29" pos="6136">
          <p15:clr>
            <a:srgbClr val="A4A3A4"/>
          </p15:clr>
        </p15:guide>
        <p15:guide id="30" pos="4896">
          <p15:clr>
            <a:srgbClr val="A4A3A4"/>
          </p15:clr>
        </p15:guide>
        <p15:guide id="31" pos="700">
          <p15:clr>
            <a:srgbClr val="A4A3A4"/>
          </p15:clr>
        </p15:guide>
        <p15:guide id="32" pos="7368">
          <p15:clr>
            <a:srgbClr val="A4A3A4"/>
          </p15:clr>
        </p15:guide>
        <p15:guide id="33" pos="449">
          <p15:clr>
            <a:srgbClr val="A4A3A4"/>
          </p15:clr>
        </p15:guide>
        <p15:guide id="34" pos="240">
          <p15:clr>
            <a:srgbClr val="A4A3A4"/>
          </p15:clr>
        </p15:guide>
        <p15:guide id="35" orient="horz" pos="3462">
          <p15:clr>
            <a:srgbClr val="A4A3A4"/>
          </p15:clr>
        </p15:guide>
        <p15:guide id="36" orient="horz" pos="1120">
          <p15:clr>
            <a:srgbClr val="A4A3A4"/>
          </p15:clr>
        </p15:guide>
        <p15:guide id="37" pos="4613">
          <p15:clr>
            <a:srgbClr val="A4A3A4"/>
          </p15:clr>
        </p15:guide>
        <p15:guide id="38" pos="5752">
          <p15:clr>
            <a:srgbClr val="A4A3A4"/>
          </p15:clr>
        </p15:guide>
        <p15:guide id="39" pos="4995">
          <p15:clr>
            <a:srgbClr val="A4A3A4"/>
          </p15:clr>
        </p15:guide>
        <p15:guide id="40" pos="3653">
          <p15:clr>
            <a:srgbClr val="A4A3A4"/>
          </p15:clr>
        </p15:guide>
        <p15:guide id="41" pos="5081">
          <p15:clr>
            <a:srgbClr val="A4A3A4"/>
          </p15:clr>
        </p15:guide>
        <p15:guide id="42" pos="4335">
          <p15:clr>
            <a:srgbClr val="A4A3A4"/>
          </p15:clr>
        </p15:guide>
        <p15:guide id="43" pos="587">
          <p15:clr>
            <a:srgbClr val="A4A3A4"/>
          </p15:clr>
        </p15:guide>
        <p15:guide id="44" pos="489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aina Mitsch" initials="ADM" lastIdx="96" clrIdx="0"/>
  <p:cmAuthor id="1" name="Kimberly Dittmar" initials="KD" lastIdx="20" clrIdx="1"/>
  <p:cmAuthor id="2" name="Shannon O'Sullivan" initials="SO" lastIdx="29" clrIdx="2"/>
  <p:cmAuthor id="3" name="Dana Tabor" initials="DT" lastIdx="3" clrIdx="3"/>
  <p:cmAuthor id="4" name="Bruce Neal" initials="BN" lastIdx="3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57200"/>
    <a:srgbClr val="134677"/>
    <a:srgbClr val="08357A"/>
    <a:srgbClr val="FFFFFF"/>
    <a:srgbClr val="09357A"/>
    <a:srgbClr val="01306C"/>
    <a:srgbClr val="E7ECF4"/>
    <a:srgbClr val="8DE0FF"/>
    <a:srgbClr val="FCF3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666" autoAdjust="0"/>
    <p:restoredTop sz="91616" autoAdjust="0"/>
  </p:normalViewPr>
  <p:slideViewPr>
    <p:cSldViewPr snapToGrid="0" showGuides="1">
      <p:cViewPr varScale="1">
        <p:scale>
          <a:sx n="99" d="100"/>
          <a:sy n="99" d="100"/>
        </p:scale>
        <p:origin x="1416" y="176"/>
      </p:cViewPr>
      <p:guideLst>
        <p:guide orient="horz" pos="2184"/>
        <p:guide pos="4656"/>
        <p:guide orient="horz" pos="3864"/>
        <p:guide orient="horz" pos="2784"/>
        <p:guide orient="horz" pos="3048"/>
        <p:guide orient="horz" pos="1320"/>
        <p:guide pos="6789"/>
        <p:guide pos="1716"/>
        <p:guide pos="5640"/>
        <p:guide orient="horz" pos="2448"/>
        <p:guide orient="horz" pos="4320"/>
        <p:guide orient="horz" pos="2088"/>
        <p:guide pos="5472"/>
        <p:guide orient="horz" pos="3840"/>
        <p:guide pos="1050"/>
        <p:guide pos="6984"/>
        <p:guide pos="696"/>
        <p:guide orient="horz" pos="3807"/>
        <p:guide orient="horz" pos="792"/>
        <p:guide orient="horz" pos="3921"/>
        <p:guide orient="horz" pos="4227"/>
        <p:guide orient="horz" pos="3677"/>
        <p:guide orient="horz" pos="1215"/>
        <p:guide pos="3999"/>
        <p:guide pos="1764"/>
        <p:guide pos="6136"/>
        <p:guide pos="4896"/>
        <p:guide pos="700"/>
        <p:guide pos="7368"/>
        <p:guide pos="449"/>
        <p:guide pos="240"/>
        <p:guide orient="horz" pos="3462"/>
        <p:guide orient="horz" pos="1120"/>
        <p:guide pos="4613"/>
        <p:guide pos="5752"/>
        <p:guide pos="4995"/>
        <p:guide pos="3653"/>
        <p:guide pos="5081"/>
        <p:guide pos="4335"/>
        <p:guide pos="587"/>
        <p:guide pos="489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-12845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60" Type="http://schemas.openxmlformats.org/officeDocument/2006/relationships/slide" Target="slides/slide57.xml"/><Relationship Id="rId61" Type="http://schemas.openxmlformats.org/officeDocument/2006/relationships/slide" Target="slides/slide58.xml"/><Relationship Id="rId62" Type="http://schemas.openxmlformats.org/officeDocument/2006/relationships/slide" Target="slides/slide59.xml"/><Relationship Id="rId63" Type="http://schemas.openxmlformats.org/officeDocument/2006/relationships/slide" Target="slides/slide60.xml"/><Relationship Id="rId64" Type="http://schemas.openxmlformats.org/officeDocument/2006/relationships/slide" Target="slides/slide61.xml"/><Relationship Id="rId65" Type="http://schemas.openxmlformats.org/officeDocument/2006/relationships/slide" Target="slides/slide62.xml"/><Relationship Id="rId66" Type="http://schemas.openxmlformats.org/officeDocument/2006/relationships/slide" Target="slides/slide63.xml"/><Relationship Id="rId67" Type="http://schemas.openxmlformats.org/officeDocument/2006/relationships/slide" Target="slides/slide64.xml"/><Relationship Id="rId68" Type="http://schemas.openxmlformats.org/officeDocument/2006/relationships/slide" Target="slides/slide65.xml"/><Relationship Id="rId69" Type="http://schemas.openxmlformats.org/officeDocument/2006/relationships/slide" Target="slides/slide66.xml"/><Relationship Id="rId120" Type="http://schemas.openxmlformats.org/officeDocument/2006/relationships/slide" Target="slides/slide117.xml"/><Relationship Id="rId121" Type="http://schemas.openxmlformats.org/officeDocument/2006/relationships/notesMaster" Target="notesMasters/notesMaster1.xml"/><Relationship Id="rId122" Type="http://schemas.openxmlformats.org/officeDocument/2006/relationships/handoutMaster" Target="handoutMasters/handoutMaster1.xml"/><Relationship Id="rId123" Type="http://schemas.openxmlformats.org/officeDocument/2006/relationships/tags" Target="tags/tag1.xml"/><Relationship Id="rId124" Type="http://schemas.openxmlformats.org/officeDocument/2006/relationships/commentAuthors" Target="commentAuthors.xml"/><Relationship Id="rId125" Type="http://schemas.openxmlformats.org/officeDocument/2006/relationships/presProps" Target="presProps.xml"/><Relationship Id="rId126" Type="http://schemas.openxmlformats.org/officeDocument/2006/relationships/viewProps" Target="viewProps.xml"/><Relationship Id="rId127" Type="http://schemas.openxmlformats.org/officeDocument/2006/relationships/theme" Target="theme/theme1.xml"/><Relationship Id="rId128" Type="http://schemas.openxmlformats.org/officeDocument/2006/relationships/tableStyles" Target="tableStyles.xml"/><Relationship Id="rId129" Type="http://schemas.microsoft.com/office/2015/10/relationships/revisionInfo" Target="revisionInfo.xml"/><Relationship Id="rId40" Type="http://schemas.openxmlformats.org/officeDocument/2006/relationships/slide" Target="slides/slide37.xml"/><Relationship Id="rId41" Type="http://schemas.openxmlformats.org/officeDocument/2006/relationships/slide" Target="slides/slide38.xml"/><Relationship Id="rId42" Type="http://schemas.openxmlformats.org/officeDocument/2006/relationships/slide" Target="slides/slide39.xml"/><Relationship Id="rId90" Type="http://schemas.openxmlformats.org/officeDocument/2006/relationships/slide" Target="slides/slide87.xml"/><Relationship Id="rId91" Type="http://schemas.openxmlformats.org/officeDocument/2006/relationships/slide" Target="slides/slide88.xml"/><Relationship Id="rId92" Type="http://schemas.openxmlformats.org/officeDocument/2006/relationships/slide" Target="slides/slide89.xml"/><Relationship Id="rId93" Type="http://schemas.openxmlformats.org/officeDocument/2006/relationships/slide" Target="slides/slide90.xml"/><Relationship Id="rId94" Type="http://schemas.openxmlformats.org/officeDocument/2006/relationships/slide" Target="slides/slide91.xml"/><Relationship Id="rId95" Type="http://schemas.openxmlformats.org/officeDocument/2006/relationships/slide" Target="slides/slide92.xml"/><Relationship Id="rId96" Type="http://schemas.openxmlformats.org/officeDocument/2006/relationships/slide" Target="slides/slide93.xml"/><Relationship Id="rId101" Type="http://schemas.openxmlformats.org/officeDocument/2006/relationships/slide" Target="slides/slide98.xml"/><Relationship Id="rId102" Type="http://schemas.openxmlformats.org/officeDocument/2006/relationships/slide" Target="slides/slide99.xml"/><Relationship Id="rId103" Type="http://schemas.openxmlformats.org/officeDocument/2006/relationships/slide" Target="slides/slide100.xml"/><Relationship Id="rId104" Type="http://schemas.openxmlformats.org/officeDocument/2006/relationships/slide" Target="slides/slide101.xml"/><Relationship Id="rId105" Type="http://schemas.openxmlformats.org/officeDocument/2006/relationships/slide" Target="slides/slide102.xml"/><Relationship Id="rId106" Type="http://schemas.openxmlformats.org/officeDocument/2006/relationships/slide" Target="slides/slide103.xml"/><Relationship Id="rId107" Type="http://schemas.openxmlformats.org/officeDocument/2006/relationships/slide" Target="slides/slide104.xml"/><Relationship Id="rId108" Type="http://schemas.openxmlformats.org/officeDocument/2006/relationships/slide" Target="slides/slide105.xml"/><Relationship Id="rId109" Type="http://schemas.openxmlformats.org/officeDocument/2006/relationships/slide" Target="slides/slide106.xml"/><Relationship Id="rId97" Type="http://schemas.openxmlformats.org/officeDocument/2006/relationships/slide" Target="slides/slide94.xml"/><Relationship Id="rId98" Type="http://schemas.openxmlformats.org/officeDocument/2006/relationships/slide" Target="slides/slide95.xml"/><Relationship Id="rId99" Type="http://schemas.openxmlformats.org/officeDocument/2006/relationships/slide" Target="slides/slide96.xml"/><Relationship Id="rId43" Type="http://schemas.openxmlformats.org/officeDocument/2006/relationships/slide" Target="slides/slide40.xml"/><Relationship Id="rId44" Type="http://schemas.openxmlformats.org/officeDocument/2006/relationships/slide" Target="slides/slide41.xml"/><Relationship Id="rId45" Type="http://schemas.openxmlformats.org/officeDocument/2006/relationships/slide" Target="slides/slide42.xml"/><Relationship Id="rId46" Type="http://schemas.openxmlformats.org/officeDocument/2006/relationships/slide" Target="slides/slide43.xml"/><Relationship Id="rId47" Type="http://schemas.openxmlformats.org/officeDocument/2006/relationships/slide" Target="slides/slide44.xml"/><Relationship Id="rId48" Type="http://schemas.openxmlformats.org/officeDocument/2006/relationships/slide" Target="slides/slide45.xml"/><Relationship Id="rId49" Type="http://schemas.openxmlformats.org/officeDocument/2006/relationships/slide" Target="slides/slide46.xml"/><Relationship Id="rId100" Type="http://schemas.openxmlformats.org/officeDocument/2006/relationships/slide" Target="slides/slide97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70" Type="http://schemas.openxmlformats.org/officeDocument/2006/relationships/slide" Target="slides/slide67.xml"/><Relationship Id="rId71" Type="http://schemas.openxmlformats.org/officeDocument/2006/relationships/slide" Target="slides/slide68.xml"/><Relationship Id="rId72" Type="http://schemas.openxmlformats.org/officeDocument/2006/relationships/slide" Target="slides/slide69.xml"/><Relationship Id="rId73" Type="http://schemas.openxmlformats.org/officeDocument/2006/relationships/slide" Target="slides/slide70.xml"/><Relationship Id="rId74" Type="http://schemas.openxmlformats.org/officeDocument/2006/relationships/slide" Target="slides/slide71.xml"/><Relationship Id="rId75" Type="http://schemas.openxmlformats.org/officeDocument/2006/relationships/slide" Target="slides/slide72.xml"/><Relationship Id="rId76" Type="http://schemas.openxmlformats.org/officeDocument/2006/relationships/slide" Target="slides/slide73.xml"/><Relationship Id="rId77" Type="http://schemas.openxmlformats.org/officeDocument/2006/relationships/slide" Target="slides/slide74.xml"/><Relationship Id="rId78" Type="http://schemas.openxmlformats.org/officeDocument/2006/relationships/slide" Target="slides/slide75.xml"/><Relationship Id="rId79" Type="http://schemas.openxmlformats.org/officeDocument/2006/relationships/slide" Target="slides/slide76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50" Type="http://schemas.openxmlformats.org/officeDocument/2006/relationships/slide" Target="slides/slide47.xml"/><Relationship Id="rId51" Type="http://schemas.openxmlformats.org/officeDocument/2006/relationships/slide" Target="slides/slide48.xml"/><Relationship Id="rId52" Type="http://schemas.openxmlformats.org/officeDocument/2006/relationships/slide" Target="slides/slide49.xml"/><Relationship Id="rId53" Type="http://schemas.openxmlformats.org/officeDocument/2006/relationships/slide" Target="slides/slide50.xml"/><Relationship Id="rId54" Type="http://schemas.openxmlformats.org/officeDocument/2006/relationships/slide" Target="slides/slide51.xml"/><Relationship Id="rId55" Type="http://schemas.openxmlformats.org/officeDocument/2006/relationships/slide" Target="slides/slide52.xml"/><Relationship Id="rId56" Type="http://schemas.openxmlformats.org/officeDocument/2006/relationships/slide" Target="slides/slide53.xml"/><Relationship Id="rId57" Type="http://schemas.openxmlformats.org/officeDocument/2006/relationships/slide" Target="slides/slide54.xml"/><Relationship Id="rId58" Type="http://schemas.openxmlformats.org/officeDocument/2006/relationships/slide" Target="slides/slide55.xml"/><Relationship Id="rId59" Type="http://schemas.openxmlformats.org/officeDocument/2006/relationships/slide" Target="slides/slide56.xml"/><Relationship Id="rId110" Type="http://schemas.openxmlformats.org/officeDocument/2006/relationships/slide" Target="slides/slide107.xml"/><Relationship Id="rId111" Type="http://schemas.openxmlformats.org/officeDocument/2006/relationships/slide" Target="slides/slide108.xml"/><Relationship Id="rId112" Type="http://schemas.openxmlformats.org/officeDocument/2006/relationships/slide" Target="slides/slide109.xml"/><Relationship Id="rId113" Type="http://schemas.openxmlformats.org/officeDocument/2006/relationships/slide" Target="slides/slide110.xml"/><Relationship Id="rId114" Type="http://schemas.openxmlformats.org/officeDocument/2006/relationships/slide" Target="slides/slide111.xml"/><Relationship Id="rId115" Type="http://schemas.openxmlformats.org/officeDocument/2006/relationships/slide" Target="slides/slide112.xml"/><Relationship Id="rId116" Type="http://schemas.openxmlformats.org/officeDocument/2006/relationships/slide" Target="slides/slide113.xml"/><Relationship Id="rId117" Type="http://schemas.openxmlformats.org/officeDocument/2006/relationships/slide" Target="slides/slide114.xml"/><Relationship Id="rId118" Type="http://schemas.openxmlformats.org/officeDocument/2006/relationships/slide" Target="slides/slide115.xml"/><Relationship Id="rId119" Type="http://schemas.openxmlformats.org/officeDocument/2006/relationships/slide" Target="slides/slide116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37" Type="http://schemas.openxmlformats.org/officeDocument/2006/relationships/slide" Target="slides/slide34.xml"/><Relationship Id="rId38" Type="http://schemas.openxmlformats.org/officeDocument/2006/relationships/slide" Target="slides/slide35.xml"/><Relationship Id="rId39" Type="http://schemas.openxmlformats.org/officeDocument/2006/relationships/slide" Target="slides/slide36.xml"/><Relationship Id="rId80" Type="http://schemas.openxmlformats.org/officeDocument/2006/relationships/slide" Target="slides/slide77.xml"/><Relationship Id="rId81" Type="http://schemas.openxmlformats.org/officeDocument/2006/relationships/slide" Target="slides/slide78.xml"/><Relationship Id="rId82" Type="http://schemas.openxmlformats.org/officeDocument/2006/relationships/slide" Target="slides/slide79.xml"/><Relationship Id="rId83" Type="http://schemas.openxmlformats.org/officeDocument/2006/relationships/slide" Target="slides/slide80.xml"/><Relationship Id="rId84" Type="http://schemas.openxmlformats.org/officeDocument/2006/relationships/slide" Target="slides/slide81.xml"/><Relationship Id="rId85" Type="http://schemas.openxmlformats.org/officeDocument/2006/relationships/slide" Target="slides/slide82.xml"/><Relationship Id="rId86" Type="http://schemas.openxmlformats.org/officeDocument/2006/relationships/slide" Target="slides/slide83.xml"/><Relationship Id="rId87" Type="http://schemas.openxmlformats.org/officeDocument/2006/relationships/slide" Target="slides/slide84.xml"/><Relationship Id="rId88" Type="http://schemas.openxmlformats.org/officeDocument/2006/relationships/slide" Target="slides/slide85.xml"/><Relationship Id="rId89" Type="http://schemas.openxmlformats.org/officeDocument/2006/relationships/slide" Target="slides/slide8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80CF80-C726-4E66-933B-C0807B5F6B04}" type="datetimeFigureOut">
              <a:rPr lang="en-US" smtClean="0"/>
              <a:t>9/26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675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452A2F-9356-4CB2-8D7C-997B346A5B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1229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F4D5A4-6FFE-4685-9FA3-971566B84AA3}" type="datetimeFigureOut">
              <a:rPr lang="en-US" smtClean="0"/>
              <a:t>9/26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6426"/>
            <a:ext cx="560832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675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F993B7-3883-4FF2-A74A-67750E8D52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594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5486401" y="2197041"/>
            <a:ext cx="6324599" cy="1015663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486401" y="3287712"/>
            <a:ext cx="6324599" cy="369888"/>
          </a:xfrm>
        </p:spPr>
        <p:txBody>
          <a:bodyPr/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486401" y="304800"/>
            <a:ext cx="6324599" cy="355600"/>
          </a:xfrm>
        </p:spPr>
        <p:txBody>
          <a:bodyPr/>
          <a:lstStyle>
            <a:lvl1pPr marL="0" indent="0">
              <a:buNone/>
              <a:defRPr sz="15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86401" y="5515689"/>
            <a:ext cx="6324599" cy="123111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8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24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4572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7236" y="6225988"/>
            <a:ext cx="61406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Presented at the 53</a:t>
            </a:r>
            <a:r>
              <a:rPr lang="en-US" sz="1000" baseline="30000" dirty="0">
                <a:solidFill>
                  <a:schemeClr val="bg1"/>
                </a:solidFill>
              </a:rPr>
              <a:t>rd</a:t>
            </a:r>
            <a:r>
              <a:rPr lang="en-US" sz="1000" dirty="0">
                <a:solidFill>
                  <a:schemeClr val="bg1"/>
                </a:solidFill>
              </a:rPr>
              <a:t> Annual Meeting of the European </a:t>
            </a:r>
            <a:r>
              <a:rPr lang="en-US" sz="1000" baseline="0" dirty="0">
                <a:solidFill>
                  <a:schemeClr val="bg1"/>
                </a:solidFill>
              </a:rPr>
              <a:t>Association for the Study of Diabetes; </a:t>
            </a:r>
          </a:p>
          <a:p>
            <a:r>
              <a:rPr lang="en-US" sz="1000" baseline="0" dirty="0">
                <a:solidFill>
                  <a:schemeClr val="bg1"/>
                </a:solidFill>
              </a:rPr>
              <a:t>15 September 2017</a:t>
            </a:r>
            <a:r>
              <a:rPr lang="en-US" sz="1000" baseline="0">
                <a:solidFill>
                  <a:schemeClr val="bg1"/>
                </a:solidFill>
              </a:rPr>
              <a:t>; Lisbon, Portugal</a:t>
            </a:r>
            <a:r>
              <a:rPr lang="en-US" sz="1000" baseline="0" dirty="0">
                <a:solidFill>
                  <a:schemeClr val="bg1"/>
                </a:solidFill>
              </a:rPr>
              <a:t>.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:3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5486404" y="2197045"/>
            <a:ext cx="6197601" cy="1015663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486404" y="3287712"/>
            <a:ext cx="6197601" cy="369888"/>
          </a:xfrm>
        </p:spPr>
        <p:txBody>
          <a:bodyPr/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486404" y="304800"/>
            <a:ext cx="6197601" cy="355600"/>
          </a:xfrm>
        </p:spPr>
        <p:txBody>
          <a:bodyPr/>
          <a:lstStyle>
            <a:lvl1pPr marL="0" indent="0">
              <a:buNone/>
              <a:defRPr sz="15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86404" y="5527357"/>
            <a:ext cx="6194753" cy="123111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8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24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4572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9649" y="6225988"/>
            <a:ext cx="79427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Presented at the 53</a:t>
            </a:r>
            <a:r>
              <a:rPr lang="en-US" sz="1000" baseline="30000" dirty="0">
                <a:solidFill>
                  <a:schemeClr val="bg1"/>
                </a:solidFill>
              </a:rPr>
              <a:t>rd</a:t>
            </a:r>
            <a:r>
              <a:rPr lang="en-US" sz="1000" dirty="0">
                <a:solidFill>
                  <a:schemeClr val="bg1"/>
                </a:solidFill>
              </a:rPr>
              <a:t> Annual Meeting of the European </a:t>
            </a:r>
            <a:r>
              <a:rPr lang="en-US" sz="1000" baseline="0" dirty="0">
                <a:solidFill>
                  <a:schemeClr val="bg1"/>
                </a:solidFill>
              </a:rPr>
              <a:t>Association for the Study of Diabetes; </a:t>
            </a:r>
          </a:p>
          <a:p>
            <a:r>
              <a:rPr lang="en-US" sz="1000" baseline="0" dirty="0">
                <a:solidFill>
                  <a:schemeClr val="bg1"/>
                </a:solidFill>
              </a:rPr>
              <a:t>15 September 2017</a:t>
            </a:r>
            <a:r>
              <a:rPr lang="en-US" sz="1000" baseline="0">
                <a:solidFill>
                  <a:schemeClr val="bg1"/>
                </a:solidFill>
              </a:rPr>
              <a:t>; Lisbon, Portugal</a:t>
            </a:r>
            <a:r>
              <a:rPr lang="en-US" sz="1000" baseline="0" dirty="0">
                <a:solidFill>
                  <a:schemeClr val="bg1"/>
                </a:solidFill>
              </a:rPr>
              <a:t>.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137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2400" y="717339"/>
            <a:ext cx="11347200" cy="461665"/>
          </a:xfrm>
          <a:prstGeom prst="rect">
            <a:avLst/>
          </a:prstGeo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da-DK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a-DK" noProof="0"/>
              <a:t>Click to edit Master text style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66" y="138551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569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51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569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75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536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82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50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577DE-79D3-48B3-B566-EEF3A9546AA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6873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108009"/>
            <a:ext cx="10363200" cy="492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F100B5-B664-AA47-B7A8-902CA38EEB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9206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455C-EA68-401E-8E05-A4A82C34662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6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517B-4D68-4A26-BF2F-A9EAFA877E9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9256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455C-EA68-401E-8E05-A4A82C34662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6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517B-4D68-4A26-BF2F-A9EAFA877E9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5032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613" y="4406900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613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455C-EA68-401E-8E05-A4A82C34662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6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517B-4D68-4A26-BF2F-A9EAFA877E9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1108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410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5410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455C-EA68-401E-8E05-A4A82C34662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6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517B-4D68-4A26-BF2F-A9EAFA877E9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2515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3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3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38" y="1535113"/>
            <a:ext cx="538956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38" y="2174875"/>
            <a:ext cx="538956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455C-EA68-401E-8E05-A4A82C34662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6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517B-4D68-4A26-BF2F-A9EAFA877E9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0424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918" y="587375"/>
            <a:ext cx="11434482" cy="47494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455C-EA68-401E-8E05-A4A82C34662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6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517B-4D68-4A26-BF2F-A9EAFA877E9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0276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381001" y="2197041"/>
            <a:ext cx="6321754" cy="1015663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81001" y="3287712"/>
            <a:ext cx="6321754" cy="369888"/>
          </a:xfrm>
        </p:spPr>
        <p:txBody>
          <a:bodyPr/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83905" y="5527353"/>
            <a:ext cx="6318849" cy="123111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8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24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4572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7236" y="6225988"/>
            <a:ext cx="62748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Presented at the 53</a:t>
            </a:r>
            <a:r>
              <a:rPr lang="en-US" sz="1000" baseline="30000" dirty="0">
                <a:solidFill>
                  <a:schemeClr val="bg1"/>
                </a:solidFill>
              </a:rPr>
              <a:t>rd</a:t>
            </a:r>
            <a:r>
              <a:rPr lang="en-US" sz="1000" dirty="0">
                <a:solidFill>
                  <a:schemeClr val="bg1"/>
                </a:solidFill>
              </a:rPr>
              <a:t> Annual Meeting of the European </a:t>
            </a:r>
            <a:r>
              <a:rPr lang="en-US" sz="1000" baseline="0" dirty="0">
                <a:solidFill>
                  <a:schemeClr val="bg1"/>
                </a:solidFill>
              </a:rPr>
              <a:t>Association for the Study of Diabetes; </a:t>
            </a:r>
          </a:p>
          <a:p>
            <a:r>
              <a:rPr lang="en-US" sz="1000" baseline="0" dirty="0">
                <a:solidFill>
                  <a:schemeClr val="bg1"/>
                </a:solidFill>
              </a:rPr>
              <a:t>15 September 2017</a:t>
            </a:r>
            <a:r>
              <a:rPr lang="en-US" sz="1000" baseline="0">
                <a:solidFill>
                  <a:schemeClr val="bg1"/>
                </a:solidFill>
              </a:rPr>
              <a:t>; Lisbon, Portugal</a:t>
            </a:r>
            <a:r>
              <a:rPr lang="en-US" sz="1000" baseline="0" dirty="0">
                <a:solidFill>
                  <a:schemeClr val="bg1"/>
                </a:solidFill>
              </a:rPr>
              <a:t>.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4246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455C-EA68-401E-8E05-A4A82C34662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6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517B-4D68-4A26-BF2F-A9EAFA877E9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2908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6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263" y="273050"/>
            <a:ext cx="681513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0"/>
            <a:ext cx="40116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455C-EA68-401E-8E05-A4A82C34662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6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517B-4D68-4A26-BF2F-A9EAFA877E9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8921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188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188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188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455C-EA68-401E-8E05-A4A82C34662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6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517B-4D68-4A26-BF2F-A9EAFA877E9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211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455C-EA68-401E-8E05-A4A82C34662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6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517B-4D68-4A26-BF2F-A9EAFA877E9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6788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8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8"/>
            <a:ext cx="80772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69455C-EA68-401E-8E05-A4A82C34662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6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2B517B-4D68-4A26-BF2F-A9EAFA877E9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12298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5486401" y="2197041"/>
            <a:ext cx="6324599" cy="1015663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486401" y="3287712"/>
            <a:ext cx="6324599" cy="369888"/>
          </a:xfrm>
        </p:spPr>
        <p:txBody>
          <a:bodyPr/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486401" y="304800"/>
            <a:ext cx="6324599" cy="355600"/>
          </a:xfrm>
        </p:spPr>
        <p:txBody>
          <a:bodyPr/>
          <a:lstStyle>
            <a:lvl1pPr marL="0" indent="0">
              <a:buNone/>
              <a:defRPr sz="15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86401" y="5515689"/>
            <a:ext cx="6324599" cy="123111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8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24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4572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7236" y="6225988"/>
            <a:ext cx="61406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Presented at the 53</a:t>
            </a:r>
            <a:r>
              <a:rPr lang="en-US" sz="1000" baseline="30000" dirty="0">
                <a:solidFill>
                  <a:srgbClr val="FFFFFF"/>
                </a:solidFill>
              </a:rPr>
              <a:t>rd</a:t>
            </a:r>
            <a:r>
              <a:rPr lang="en-US" sz="1000" dirty="0">
                <a:solidFill>
                  <a:srgbClr val="FFFFFF"/>
                </a:solidFill>
              </a:rPr>
              <a:t> Annual Meeting of the European Association for the Study of Diabetes; </a:t>
            </a:r>
          </a:p>
          <a:p>
            <a:r>
              <a:rPr lang="en-US" sz="1000" dirty="0">
                <a:solidFill>
                  <a:srgbClr val="FFFFFF"/>
                </a:solidFill>
              </a:rPr>
              <a:t>15 September 2017</a:t>
            </a:r>
            <a:r>
              <a:rPr lang="en-US" sz="1000">
                <a:solidFill>
                  <a:srgbClr val="FFFFFF"/>
                </a:solidFill>
              </a:rPr>
              <a:t>; Lisbon, Portugal</a:t>
            </a:r>
            <a:r>
              <a:rPr lang="en-US" sz="1000" dirty="0">
                <a:solidFill>
                  <a:srgbClr val="FFFFFF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223192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:9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381001" y="2197041"/>
            <a:ext cx="6321754" cy="1015663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81001" y="3287712"/>
            <a:ext cx="6321754" cy="369888"/>
          </a:xfrm>
        </p:spPr>
        <p:txBody>
          <a:bodyPr/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83905" y="5527353"/>
            <a:ext cx="6318849" cy="123111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8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24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4572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7236" y="6225988"/>
            <a:ext cx="62748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Presented at the 53</a:t>
            </a:r>
            <a:r>
              <a:rPr lang="en-US" sz="1000" baseline="30000" dirty="0">
                <a:solidFill>
                  <a:srgbClr val="FFFFFF"/>
                </a:solidFill>
              </a:rPr>
              <a:t>rd</a:t>
            </a:r>
            <a:r>
              <a:rPr lang="en-US" sz="1000" dirty="0">
                <a:solidFill>
                  <a:srgbClr val="FFFFFF"/>
                </a:solidFill>
              </a:rPr>
              <a:t> Annual Meeting of the European Association for the Study of Diabetes; </a:t>
            </a:r>
          </a:p>
          <a:p>
            <a:r>
              <a:rPr lang="en-US" sz="1000" dirty="0">
                <a:solidFill>
                  <a:srgbClr val="FFFFFF"/>
                </a:solidFill>
              </a:rPr>
              <a:t>15 September 2017</a:t>
            </a:r>
            <a:r>
              <a:rPr lang="en-US" sz="1000">
                <a:solidFill>
                  <a:srgbClr val="FFFFFF"/>
                </a:solidFill>
              </a:rPr>
              <a:t>; Lisbon, Portugal</a:t>
            </a:r>
            <a:r>
              <a:rPr lang="en-US" sz="1000" dirty="0">
                <a:solidFill>
                  <a:srgbClr val="FFFFFF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067377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/>
            </a:lvl1pPr>
          </a:lstStyle>
          <a:p>
            <a:fld id="{B1E7FC84-9B1F-A046-AD61-576EBEDE336D}" type="slidenum">
              <a:rPr lang="en-US">
                <a:solidFill>
                  <a:srgbClr val="002F6C"/>
                </a:solidFill>
              </a:rPr>
              <a:pPr/>
              <a:t>‹#›</a:t>
            </a:fld>
            <a:endParaRPr lang="en-US" dirty="0">
              <a:solidFill>
                <a:srgbClr val="002F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0225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Content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041525"/>
            <a:ext cx="11430000" cy="3489960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80935" y="1514475"/>
            <a:ext cx="11434364" cy="457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9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87F5A20-50A3-934A-A894-0162432A2EC2}" type="slidenum">
              <a:rPr lang="en-US">
                <a:solidFill>
                  <a:srgbClr val="002F6C"/>
                </a:solidFill>
              </a:rPr>
              <a:pPr/>
              <a:t>‹#›</a:t>
            </a:fld>
            <a:endParaRPr lang="en-US" dirty="0">
              <a:solidFill>
                <a:srgbClr val="002F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9604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:9 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1" y="1508125"/>
            <a:ext cx="5611284" cy="3976688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508125"/>
            <a:ext cx="5615516" cy="3976688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E3998B-D885-8942-9825-A886A71D1741}" type="slidenum">
              <a:rPr lang="en-US">
                <a:solidFill>
                  <a:srgbClr val="002F6C"/>
                </a:solidFill>
              </a:rPr>
              <a:pPr/>
              <a:t>‹#›</a:t>
            </a:fld>
            <a:endParaRPr lang="en-US" dirty="0">
              <a:solidFill>
                <a:srgbClr val="002F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419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/>
            </a:lvl1pPr>
          </a:lstStyle>
          <a:p>
            <a:fld id="{B1E7FC84-9B1F-A046-AD61-576EBEDE336D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Two Content w/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1" y="2133586"/>
            <a:ext cx="5611284" cy="3505214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164" y="2133599"/>
            <a:ext cx="5635836" cy="3505200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380823" y="1514475"/>
            <a:ext cx="5617218" cy="457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900" b="1" i="0">
                <a:solidFill>
                  <a:schemeClr val="tx2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9407" y="1514475"/>
            <a:ext cx="5641796" cy="457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900" b="1" i="0">
                <a:solidFill>
                  <a:schemeClr val="tx2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8AC9C7F9-0A10-DB45-8F3B-FC232BC72B20}" type="slidenum">
              <a:rPr lang="en-US">
                <a:solidFill>
                  <a:srgbClr val="002F6C"/>
                </a:solidFill>
              </a:rPr>
              <a:pPr/>
              <a:t>‹#›</a:t>
            </a:fld>
            <a:endParaRPr lang="en-US" dirty="0">
              <a:solidFill>
                <a:srgbClr val="002F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0970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:9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EDD8590-1281-0645-925F-C2266F3AF78F}" type="slidenum">
              <a:rPr lang="en-US">
                <a:solidFill>
                  <a:srgbClr val="002F6C"/>
                </a:solidFill>
              </a:rPr>
              <a:pPr/>
              <a:t>‹#›</a:t>
            </a:fld>
            <a:endParaRPr lang="en-US" dirty="0">
              <a:solidFill>
                <a:srgbClr val="002F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3389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:9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92000" cy="18288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>
              <a:solidFill>
                <a:srgbClr val="00427A"/>
              </a:solidFill>
              <a:latin typeface="Verdana" charset="0"/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95F43D4-1217-2B49-82F3-469BD80267EF}" type="slidenum">
              <a:rPr lang="en-US">
                <a:solidFill>
                  <a:srgbClr val="002F6C"/>
                </a:solidFill>
              </a:rPr>
              <a:pPr/>
              <a:t>‹#›</a:t>
            </a:fld>
            <a:endParaRPr lang="en-US" dirty="0">
              <a:solidFill>
                <a:srgbClr val="002F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0206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hank You / Summa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4630" y="3182780"/>
            <a:ext cx="11426370" cy="492443"/>
          </a:xfrm>
        </p:spPr>
        <p:txBody>
          <a:bodyPr/>
          <a:lstStyle>
            <a:lvl1pPr>
              <a:defRPr>
                <a:solidFill>
                  <a:srgbClr val="09357A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84629" y="4632382"/>
            <a:ext cx="10048228" cy="369888"/>
          </a:xfrm>
        </p:spPr>
        <p:txBody>
          <a:bodyPr/>
          <a:lstStyle>
            <a:lvl1pPr marL="0" indent="0">
              <a:buFontTx/>
              <a:buNone/>
              <a:defRPr sz="1600" b="1">
                <a:solidFill>
                  <a:srgbClr val="09357A"/>
                </a:solidFill>
              </a:defRPr>
            </a:lvl1pPr>
          </a:lstStyle>
          <a:p>
            <a:r>
              <a:rPr lang="en-US" dirty="0"/>
              <a:t>Legal Entity information can go her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/>
          </p:nvPr>
        </p:nvSpPr>
        <p:spPr bwMode="gray">
          <a:xfrm>
            <a:off x="385052" y="4943796"/>
            <a:ext cx="10048228" cy="355600"/>
          </a:xfrm>
        </p:spPr>
        <p:txBody>
          <a:bodyPr/>
          <a:lstStyle>
            <a:lvl1pPr marL="0" indent="0">
              <a:buNone/>
              <a:defRPr sz="13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34936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:3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5486404" y="2197045"/>
            <a:ext cx="6197601" cy="1015663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486404" y="3287712"/>
            <a:ext cx="6197601" cy="369888"/>
          </a:xfrm>
        </p:spPr>
        <p:txBody>
          <a:bodyPr/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486404" y="304800"/>
            <a:ext cx="6197601" cy="355600"/>
          </a:xfrm>
        </p:spPr>
        <p:txBody>
          <a:bodyPr/>
          <a:lstStyle>
            <a:lvl1pPr marL="0" indent="0">
              <a:buNone/>
              <a:defRPr sz="15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486404" y="5527357"/>
            <a:ext cx="6194753" cy="123111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8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24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4572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9649" y="6225988"/>
            <a:ext cx="79427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Presented at the 53</a:t>
            </a:r>
            <a:r>
              <a:rPr lang="en-US" sz="1000" baseline="30000" dirty="0">
                <a:solidFill>
                  <a:srgbClr val="FFFFFF"/>
                </a:solidFill>
              </a:rPr>
              <a:t>rd</a:t>
            </a:r>
            <a:r>
              <a:rPr lang="en-US" sz="1000" dirty="0">
                <a:solidFill>
                  <a:srgbClr val="FFFFFF"/>
                </a:solidFill>
              </a:rPr>
              <a:t> Annual Meeting of the European Association for the Study of Diabetes; </a:t>
            </a:r>
          </a:p>
          <a:p>
            <a:r>
              <a:rPr lang="en-US" sz="1000" dirty="0">
                <a:solidFill>
                  <a:srgbClr val="FFFFFF"/>
                </a:solidFill>
              </a:rPr>
              <a:t>15 September 2017</a:t>
            </a:r>
            <a:r>
              <a:rPr lang="en-US" sz="1000">
                <a:solidFill>
                  <a:srgbClr val="FFFFFF"/>
                </a:solidFill>
              </a:rPr>
              <a:t>; Lisbon, Portugal</a:t>
            </a:r>
            <a:r>
              <a:rPr lang="en-US" sz="1000" dirty="0">
                <a:solidFill>
                  <a:srgbClr val="FFFFFF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640363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:3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>
                <a:solidFill>
                  <a:srgbClr val="000000"/>
                </a:solidFill>
              </a:defRPr>
            </a:lvl1pPr>
            <a:lvl2pPr>
              <a:spcBef>
                <a:spcPts val="600"/>
              </a:spcBef>
              <a:defRPr>
                <a:solidFill>
                  <a:srgbClr val="000000"/>
                </a:solidFill>
              </a:defRPr>
            </a:lvl2pPr>
            <a:lvl3pPr>
              <a:spcBef>
                <a:spcPts val="300"/>
              </a:spcBef>
              <a:defRPr>
                <a:solidFill>
                  <a:srgbClr val="000000"/>
                </a:solidFill>
              </a:defRPr>
            </a:lvl3pPr>
            <a:lvl4pPr>
              <a:spcBef>
                <a:spcPts val="200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100"/>
              </a:spcBef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/>
            </a:lvl1pPr>
          </a:lstStyle>
          <a:p>
            <a:fld id="{B1E7FC84-9B1F-A046-AD61-576EBEDE336D}" type="slidenum">
              <a:rPr lang="en-US">
                <a:solidFill>
                  <a:srgbClr val="002F6C"/>
                </a:solidFill>
              </a:rPr>
              <a:pPr/>
              <a:t>‹#›</a:t>
            </a:fld>
            <a:endParaRPr lang="en-US" dirty="0">
              <a:solidFill>
                <a:srgbClr val="002F6C"/>
              </a:solidFill>
            </a:endParaRP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1"/>
          </p:nvPr>
        </p:nvSpPr>
        <p:spPr>
          <a:xfrm>
            <a:off x="10191751" y="6500818"/>
            <a:ext cx="1219200" cy="200025"/>
          </a:xfrm>
          <a:prstGeom prst="rect">
            <a:avLst/>
          </a:prstGeom>
        </p:spPr>
        <p:txBody>
          <a:bodyPr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14599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2400" y="717339"/>
            <a:ext cx="11347200" cy="461665"/>
          </a:xfrm>
          <a:prstGeom prst="rect">
            <a:avLst/>
          </a:prstGeo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da-DK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da-DK" noProof="0"/>
              <a:t>Click to edit Master text style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66" y="138551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569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2" y="138551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569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dirty="0">
              <a:solidFill>
                <a:srgbClr val="82786F"/>
              </a:solidFill>
            </a:endParaRPr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75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536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>
                <a:solidFill>
                  <a:srgbClr val="82786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8278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22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50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577DE-79D3-48B3-B566-EEF3A9546AA7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4829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108009"/>
            <a:ext cx="10363200" cy="49244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F100B5-B664-AA47-B7A8-902CA38EEBB4}" type="slidenum">
              <a:rPr lang="en-US" smtClean="0">
                <a:solidFill>
                  <a:srgbClr val="002F6C"/>
                </a:solidFill>
              </a:rPr>
              <a:pPr/>
              <a:t>‹#›</a:t>
            </a:fld>
            <a:endParaRPr lang="en-US">
              <a:solidFill>
                <a:srgbClr val="002F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3716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:3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505167" y="2197065"/>
            <a:ext cx="6197601" cy="1015663"/>
          </a:xfrm>
        </p:spPr>
        <p:txBody>
          <a:bodyPr/>
          <a:lstStyle>
            <a:lvl1pPr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05167" y="3287712"/>
            <a:ext cx="6197601" cy="369888"/>
          </a:xfrm>
        </p:spPr>
        <p:txBody>
          <a:bodyPr/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08011" y="5527377"/>
            <a:ext cx="6194753" cy="123111"/>
          </a:xfrm>
          <a:noFill/>
          <a:ln>
            <a:noFill/>
          </a:ln>
        </p:spPr>
        <p:txBody>
          <a:bodyPr wrap="square" lIns="91440" tIns="0" rIns="0" bIns="0" anchor="b" anchorCtr="0">
            <a:spAutoFit/>
          </a:bodyPr>
          <a:lstStyle>
            <a:lvl1pPr marL="0" indent="0">
              <a:buNone/>
              <a:defRPr lang="en-US" sz="800" b="1" kern="1200" smtClean="0">
                <a:solidFill>
                  <a:schemeClr val="bg1"/>
                </a:solidFill>
                <a:latin typeface="Verdana" pitchFamily="-105" charset="0"/>
                <a:ea typeface="ＭＳ Ｐゴシック" pitchFamily="34" charset="-128"/>
                <a:cs typeface="ＭＳ Ｐゴシック" pitchFamily="-105" charset="-128"/>
              </a:defRPr>
            </a:lvl1pPr>
            <a:lvl2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2pPr>
            <a:lvl3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3pPr>
            <a:lvl4pPr>
              <a:defRPr lang="en-US" sz="2400" kern="1200" smtClean="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4pPr>
            <a:lvl5pPr>
              <a:defRPr lang="en-US" sz="2400" kern="1200">
                <a:latin typeface="Verdana" pitchFamily="-105" charset="0"/>
                <a:ea typeface="ＭＳ Ｐゴシック" pitchFamily="-105" charset="-128"/>
                <a:cs typeface="ＭＳ Ｐゴシック" pitchFamily="-105" charset="-128"/>
              </a:defRPr>
            </a:lvl5pPr>
          </a:lstStyle>
          <a:p>
            <a:pPr lvl="0" defTabSz="457200">
              <a:spcBef>
                <a:spcPct val="0"/>
              </a:spcBef>
            </a:pPr>
            <a:r>
              <a:rPr lang="en-US" dirty="0"/>
              <a:t>Click to edit Master </a:t>
            </a:r>
            <a:r>
              <a:rPr lang="en-US"/>
              <a:t>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155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Content 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041525"/>
            <a:ext cx="11430000" cy="3489960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380935" y="1514475"/>
            <a:ext cx="11434364" cy="457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9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87F5A20-50A3-934A-A894-0162432A2EC2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3615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:9 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1" y="1508125"/>
            <a:ext cx="5611284" cy="3976688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508125"/>
            <a:ext cx="5615516" cy="3976688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E3998B-D885-8942-9825-A886A71D1741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itle and Two Content w/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1" y="2133586"/>
            <a:ext cx="5611284" cy="3505214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5164" y="2133599"/>
            <a:ext cx="5635836" cy="3505200"/>
          </a:xfrm>
        </p:spPr>
        <p:txBody>
          <a:bodyPr/>
          <a:lstStyle>
            <a:lvl1pPr>
              <a:spcBef>
                <a:spcPts val="1200"/>
              </a:spcBef>
              <a:defRPr sz="1800"/>
            </a:lvl1pPr>
            <a:lvl2pPr>
              <a:spcBef>
                <a:spcPts val="600"/>
              </a:spcBef>
              <a:defRPr sz="16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100"/>
              </a:spcBef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380823" y="1514475"/>
            <a:ext cx="5617218" cy="457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900" b="1" i="0">
                <a:solidFill>
                  <a:schemeClr val="tx2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69407" y="1514475"/>
            <a:ext cx="5641796" cy="4572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900" b="1" i="0">
                <a:solidFill>
                  <a:schemeClr val="tx2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8AC9C7F9-0A10-DB45-8F3B-FC232BC72B20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:9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EDD8590-1281-0645-925F-C2266F3AF78F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:9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92000" cy="18288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charset="0"/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95F43D4-1217-2B49-82F3-469BD80267EF}" type="slidenum">
              <a:rPr lang="en-US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9 Thank You / Summar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84630" y="3182780"/>
            <a:ext cx="11426370" cy="492443"/>
          </a:xfrm>
        </p:spPr>
        <p:txBody>
          <a:bodyPr/>
          <a:lstStyle>
            <a:lvl1pPr>
              <a:defRPr>
                <a:solidFill>
                  <a:srgbClr val="09357A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84629" y="4632382"/>
            <a:ext cx="10048228" cy="369888"/>
          </a:xfrm>
        </p:spPr>
        <p:txBody>
          <a:bodyPr/>
          <a:lstStyle>
            <a:lvl1pPr marL="0" indent="0">
              <a:buFontTx/>
              <a:buNone/>
              <a:defRPr sz="1600" b="1">
                <a:solidFill>
                  <a:srgbClr val="09357A"/>
                </a:solidFill>
              </a:defRPr>
            </a:lvl1pPr>
          </a:lstStyle>
          <a:p>
            <a:r>
              <a:rPr lang="en-US" dirty="0"/>
              <a:t>Legal Entity information can go her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/>
          </p:nvPr>
        </p:nvSpPr>
        <p:spPr bwMode="gray">
          <a:xfrm>
            <a:off x="385052" y="4943796"/>
            <a:ext cx="10048228" cy="355600"/>
          </a:xfrm>
        </p:spPr>
        <p:txBody>
          <a:bodyPr/>
          <a:lstStyle>
            <a:lvl1pPr marL="0" indent="0">
              <a:buNone/>
              <a:defRPr sz="13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0.xml"/><Relationship Id="rId8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40.xml"/><Relationship Id="rId17" Type="http://schemas.openxmlformats.org/officeDocument/2006/relationships/theme" Target="../theme/theme3.xml"/><Relationship Id="rId18" Type="http://schemas.openxmlformats.org/officeDocument/2006/relationships/image" Target="../media/image1.png"/><Relationship Id="rId1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508125"/>
            <a:ext cx="11430000" cy="402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124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563564"/>
            <a:ext cx="114300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622618" y="80963"/>
            <a:ext cx="467783" cy="200025"/>
          </a:xfrm>
          <a:prstGeom prst="rect">
            <a:avLst/>
          </a:prstGeom>
          <a:ln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700">
                <a:solidFill>
                  <a:schemeClr val="accent3"/>
                </a:solidFill>
              </a:defRPr>
            </a:lvl1pPr>
          </a:lstStyle>
          <a:p>
            <a:fld id="{9EDE57E2-A691-1C4A-A145-470C005D1CB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7236" y="6345361"/>
            <a:ext cx="62245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Presented at the 53</a:t>
            </a:r>
            <a:r>
              <a:rPr lang="en-US" sz="1000" baseline="30000" dirty="0">
                <a:solidFill>
                  <a:schemeClr val="bg1"/>
                </a:solidFill>
              </a:rPr>
              <a:t>rd</a:t>
            </a:r>
            <a:r>
              <a:rPr lang="en-US" sz="1000" dirty="0">
                <a:solidFill>
                  <a:schemeClr val="bg1"/>
                </a:solidFill>
              </a:rPr>
              <a:t> Annual Meeting of the European </a:t>
            </a:r>
            <a:r>
              <a:rPr lang="en-US" sz="1000" baseline="0" dirty="0">
                <a:solidFill>
                  <a:schemeClr val="bg1"/>
                </a:solidFill>
              </a:rPr>
              <a:t>Association for the Study of Diabetes; </a:t>
            </a:r>
          </a:p>
          <a:p>
            <a:r>
              <a:rPr lang="en-US" sz="1000" baseline="0" dirty="0">
                <a:solidFill>
                  <a:schemeClr val="bg1"/>
                </a:solidFill>
              </a:rPr>
              <a:t>15 September 2017; Lisbon, Portugal.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4014" r:id="rId2"/>
    <p:sldLayoutId id="2147483949" r:id="rId3"/>
    <p:sldLayoutId id="2147483951" r:id="rId4"/>
    <p:sldLayoutId id="2147483953" r:id="rId5"/>
    <p:sldLayoutId id="2147483954" r:id="rId6"/>
    <p:sldLayoutId id="2147483955" r:id="rId7"/>
    <p:sldLayoutId id="2147483957" r:id="rId8"/>
    <p:sldLayoutId id="2147483958" r:id="rId9"/>
    <p:sldLayoutId id="2147484015" r:id="rId10"/>
    <p:sldLayoutId id="2147484018" r:id="rId11"/>
    <p:sldLayoutId id="2147484019" r:id="rId12"/>
    <p:sldLayoutId id="2147484021" r:id="rId13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 i="0" u="none">
          <a:solidFill>
            <a:srgbClr val="09357A"/>
          </a:solidFill>
          <a:latin typeface="+mj-lt"/>
          <a:ea typeface="ＭＳ Ｐゴシック" pitchFamily="42" charset="-128"/>
          <a:cs typeface="ＭＳ Ｐゴシック" pitchFamily="42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folHlink"/>
          </a:solidFill>
          <a:latin typeface="Verdan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folHlink"/>
          </a:solidFill>
          <a:latin typeface="Verdan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folHlink"/>
          </a:solidFill>
          <a:latin typeface="Verdan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folHlink"/>
          </a:solidFill>
          <a:latin typeface="Verdana" charset="0"/>
        </a:defRPr>
      </a:lvl9pPr>
    </p:titleStyle>
    <p:bodyStyle>
      <a:lvl1pPr marL="230188" indent="-230188" algn="l" rtl="0" eaLnBrk="1" fontAlgn="base" hangingPunct="1">
        <a:spcBef>
          <a:spcPts val="1200"/>
        </a:spcBef>
        <a:spcAft>
          <a:spcPct val="0"/>
        </a:spcAft>
        <a:buClr>
          <a:srgbClr val="00BDF2"/>
        </a:buClr>
        <a:buChar char="•"/>
        <a:defRPr sz="2000">
          <a:solidFill>
            <a:srgbClr val="000000"/>
          </a:solidFill>
          <a:latin typeface="+mn-lt"/>
          <a:ea typeface="ＭＳ Ｐゴシック" pitchFamily="42" charset="-128"/>
          <a:cs typeface="ＭＳ Ｐゴシック" pitchFamily="42" charset="-128"/>
        </a:defRPr>
      </a:lvl1pPr>
      <a:lvl2pPr marL="569913" indent="-227013" algn="l" rtl="0" eaLnBrk="1" fontAlgn="base" hangingPunct="1">
        <a:spcBef>
          <a:spcPts val="600"/>
        </a:spcBef>
        <a:spcAft>
          <a:spcPct val="0"/>
        </a:spcAft>
        <a:buClr>
          <a:srgbClr val="00BDF2"/>
        </a:buClr>
        <a:buChar char="–"/>
        <a:defRPr b="0" i="0" u="none">
          <a:solidFill>
            <a:srgbClr val="000000"/>
          </a:solidFill>
          <a:latin typeface="+mn-lt"/>
          <a:ea typeface="ＭＳ Ｐゴシック" pitchFamily="42" charset="-128"/>
        </a:defRPr>
      </a:lvl2pPr>
      <a:lvl3pPr marL="912813" indent="-227013" algn="l" rtl="0" eaLnBrk="1" fontAlgn="base" hangingPunct="1">
        <a:spcBef>
          <a:spcPts val="300"/>
        </a:spcBef>
        <a:spcAft>
          <a:spcPct val="0"/>
        </a:spcAft>
        <a:buClr>
          <a:srgbClr val="00BDF2"/>
        </a:buClr>
        <a:buChar char="•"/>
        <a:defRPr sz="1600">
          <a:solidFill>
            <a:srgbClr val="000000"/>
          </a:solidFill>
          <a:latin typeface="+mn-lt"/>
          <a:ea typeface="ＭＳ Ｐゴシック" pitchFamily="42" charset="-128"/>
        </a:defRPr>
      </a:lvl3pPr>
      <a:lvl4pPr marL="1252538" indent="-220663" algn="l" rtl="0" eaLnBrk="1" fontAlgn="base" hangingPunct="1">
        <a:spcBef>
          <a:spcPts val="200"/>
        </a:spcBef>
        <a:spcAft>
          <a:spcPct val="0"/>
        </a:spcAft>
        <a:buClr>
          <a:srgbClr val="00BDF2"/>
        </a:buClr>
        <a:buChar char="–"/>
        <a:defRPr sz="1400">
          <a:solidFill>
            <a:srgbClr val="000000"/>
          </a:solidFill>
          <a:latin typeface="+mn-lt"/>
          <a:ea typeface="ＭＳ Ｐゴシック" pitchFamily="42" charset="-128"/>
        </a:defRPr>
      </a:lvl4pPr>
      <a:lvl5pPr marL="1601788" indent="-230188" algn="l" rtl="0" eaLnBrk="1" fontAlgn="base" hangingPunct="1">
        <a:spcBef>
          <a:spcPts val="100"/>
        </a:spcBef>
        <a:spcAft>
          <a:spcPct val="0"/>
        </a:spcAft>
        <a:buClr>
          <a:srgbClr val="00BDF2"/>
        </a:buClr>
        <a:buFont typeface="Arial" pitchFamily="-105" charset="0"/>
        <a:buChar char="•"/>
        <a:defRPr sz="1200">
          <a:solidFill>
            <a:srgbClr val="000000"/>
          </a:solidFill>
          <a:latin typeface="+mn-lt"/>
          <a:ea typeface="ＭＳ Ｐゴシック" pitchFamily="42" charset="-128"/>
        </a:defRPr>
      </a:lvl5pPr>
      <a:lvl6pPr marL="2060575" indent="-230188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1200">
          <a:solidFill>
            <a:schemeClr val="tx1"/>
          </a:solidFill>
          <a:latin typeface="+mn-lt"/>
        </a:defRPr>
      </a:lvl6pPr>
      <a:lvl7pPr marL="2517775" indent="-230188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1200">
          <a:solidFill>
            <a:schemeClr val="tx1"/>
          </a:solidFill>
          <a:latin typeface="+mn-lt"/>
        </a:defRPr>
      </a:lvl7pPr>
      <a:lvl8pPr marL="2974975" indent="-230188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1200">
          <a:solidFill>
            <a:schemeClr val="tx1"/>
          </a:solidFill>
          <a:latin typeface="+mn-lt"/>
        </a:defRPr>
      </a:lvl8pPr>
      <a:lvl9pPr marL="3432175" indent="-230188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440" userDrawn="1">
          <p15:clr>
            <a:srgbClr val="F26B43"/>
          </p15:clr>
        </p15:guide>
        <p15:guide id="4" pos="2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587375"/>
            <a:ext cx="10972800" cy="47494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29554"/>
            <a:ext cx="10972800" cy="49966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69455C-EA68-401E-8E05-A4A82C34662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26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2B517B-4D68-4A26-BF2F-A9EAFA877E9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945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8" r:id="rId4"/>
    <p:sldLayoutId id="2147484029" r:id="rId5"/>
    <p:sldLayoutId id="2147484030" r:id="rId6"/>
    <p:sldLayoutId id="2147484031" r:id="rId7"/>
    <p:sldLayoutId id="2147484032" r:id="rId8"/>
    <p:sldLayoutId id="2147484033" r:id="rId9"/>
    <p:sldLayoutId id="2147484034" r:id="rId10"/>
    <p:sldLayoutId id="2147484035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508125"/>
            <a:ext cx="11430000" cy="402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124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563564"/>
            <a:ext cx="114300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622618" y="80963"/>
            <a:ext cx="467783" cy="200025"/>
          </a:xfrm>
          <a:prstGeom prst="rect">
            <a:avLst/>
          </a:prstGeom>
          <a:ln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700">
                <a:solidFill>
                  <a:schemeClr val="accent3"/>
                </a:solidFill>
              </a:defRPr>
            </a:lvl1pPr>
          </a:lstStyle>
          <a:p>
            <a:fld id="{9EDE57E2-A691-1C4A-A145-470C005D1CB8}" type="slidenum">
              <a:rPr lang="en-US" smtClean="0">
                <a:solidFill>
                  <a:srgbClr val="002F6C"/>
                </a:solidFill>
              </a:rPr>
              <a:pPr/>
              <a:t>‹#›</a:t>
            </a:fld>
            <a:endParaRPr lang="en-US" dirty="0">
              <a:solidFill>
                <a:srgbClr val="002F6C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67236" y="6345361"/>
            <a:ext cx="62245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FFFF"/>
                </a:solidFill>
              </a:rPr>
              <a:t>Presented at the 53</a:t>
            </a:r>
            <a:r>
              <a:rPr lang="en-US" sz="1000" baseline="30000" dirty="0">
                <a:solidFill>
                  <a:srgbClr val="FFFFFF"/>
                </a:solidFill>
              </a:rPr>
              <a:t>rd</a:t>
            </a:r>
            <a:r>
              <a:rPr lang="en-US" sz="1000" dirty="0">
                <a:solidFill>
                  <a:srgbClr val="FFFFFF"/>
                </a:solidFill>
              </a:rPr>
              <a:t> Annual Meeting of the European Association for the Study of Diabetes; </a:t>
            </a:r>
          </a:p>
          <a:p>
            <a:r>
              <a:rPr lang="en-US" sz="1000" dirty="0">
                <a:solidFill>
                  <a:srgbClr val="FFFFFF"/>
                </a:solidFill>
              </a:rPr>
              <a:t>15 September 2017; Lisbon, Portugal.</a:t>
            </a:r>
          </a:p>
        </p:txBody>
      </p:sp>
    </p:spTree>
    <p:extLst>
      <p:ext uri="{BB962C8B-B14F-4D97-AF65-F5344CB8AC3E}">
        <p14:creationId xmlns:p14="http://schemas.microsoft.com/office/powerpoint/2010/main" val="3422211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4046" r:id="rId10"/>
    <p:sldLayoutId id="2147484047" r:id="rId11"/>
    <p:sldLayoutId id="2147484048" r:id="rId12"/>
    <p:sldLayoutId id="2147484049" r:id="rId13"/>
    <p:sldLayoutId id="2147484050" r:id="rId14"/>
    <p:sldLayoutId id="2147484051" r:id="rId15"/>
    <p:sldLayoutId id="2147484052" r:id="rId16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 i="0" u="none">
          <a:solidFill>
            <a:srgbClr val="09357A"/>
          </a:solidFill>
          <a:latin typeface="+mj-lt"/>
          <a:ea typeface="ＭＳ Ｐゴシック" pitchFamily="42" charset="-128"/>
          <a:cs typeface="ＭＳ Ｐゴシック" pitchFamily="42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Verdana" charset="0"/>
          <a:ea typeface="ＭＳ Ｐゴシック" pitchFamily="42" charset="-128"/>
          <a:cs typeface="ＭＳ Ｐゴシック" pitchFamily="42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folHlink"/>
          </a:solidFill>
          <a:latin typeface="Verdan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folHlink"/>
          </a:solidFill>
          <a:latin typeface="Verdan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folHlink"/>
          </a:solidFill>
          <a:latin typeface="Verdan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folHlink"/>
          </a:solidFill>
          <a:latin typeface="Verdana" charset="0"/>
        </a:defRPr>
      </a:lvl9pPr>
    </p:titleStyle>
    <p:bodyStyle>
      <a:lvl1pPr marL="230188" indent="-230188" algn="l" rtl="0" eaLnBrk="1" fontAlgn="base" hangingPunct="1">
        <a:spcBef>
          <a:spcPts val="1200"/>
        </a:spcBef>
        <a:spcAft>
          <a:spcPct val="0"/>
        </a:spcAft>
        <a:buClr>
          <a:srgbClr val="00BDF2"/>
        </a:buClr>
        <a:buChar char="•"/>
        <a:defRPr sz="2000">
          <a:solidFill>
            <a:srgbClr val="000000"/>
          </a:solidFill>
          <a:latin typeface="+mn-lt"/>
          <a:ea typeface="ＭＳ Ｐゴシック" pitchFamily="42" charset="-128"/>
          <a:cs typeface="ＭＳ Ｐゴシック" pitchFamily="42" charset="-128"/>
        </a:defRPr>
      </a:lvl1pPr>
      <a:lvl2pPr marL="569913" indent="-227013" algn="l" rtl="0" eaLnBrk="1" fontAlgn="base" hangingPunct="1">
        <a:spcBef>
          <a:spcPts val="600"/>
        </a:spcBef>
        <a:spcAft>
          <a:spcPct val="0"/>
        </a:spcAft>
        <a:buClr>
          <a:srgbClr val="00BDF2"/>
        </a:buClr>
        <a:buChar char="–"/>
        <a:defRPr b="0" i="0" u="none">
          <a:solidFill>
            <a:srgbClr val="000000"/>
          </a:solidFill>
          <a:latin typeface="+mn-lt"/>
          <a:ea typeface="ＭＳ Ｐゴシック" pitchFamily="42" charset="-128"/>
        </a:defRPr>
      </a:lvl2pPr>
      <a:lvl3pPr marL="912813" indent="-227013" algn="l" rtl="0" eaLnBrk="1" fontAlgn="base" hangingPunct="1">
        <a:spcBef>
          <a:spcPts val="300"/>
        </a:spcBef>
        <a:spcAft>
          <a:spcPct val="0"/>
        </a:spcAft>
        <a:buClr>
          <a:srgbClr val="00BDF2"/>
        </a:buClr>
        <a:buChar char="•"/>
        <a:defRPr sz="1600">
          <a:solidFill>
            <a:srgbClr val="000000"/>
          </a:solidFill>
          <a:latin typeface="+mn-lt"/>
          <a:ea typeface="ＭＳ Ｐゴシック" pitchFamily="42" charset="-128"/>
        </a:defRPr>
      </a:lvl3pPr>
      <a:lvl4pPr marL="1252538" indent="-220663" algn="l" rtl="0" eaLnBrk="1" fontAlgn="base" hangingPunct="1">
        <a:spcBef>
          <a:spcPts val="200"/>
        </a:spcBef>
        <a:spcAft>
          <a:spcPct val="0"/>
        </a:spcAft>
        <a:buClr>
          <a:srgbClr val="00BDF2"/>
        </a:buClr>
        <a:buChar char="–"/>
        <a:defRPr sz="1400">
          <a:solidFill>
            <a:srgbClr val="000000"/>
          </a:solidFill>
          <a:latin typeface="+mn-lt"/>
          <a:ea typeface="ＭＳ Ｐゴシック" pitchFamily="42" charset="-128"/>
        </a:defRPr>
      </a:lvl4pPr>
      <a:lvl5pPr marL="1601788" indent="-230188" algn="l" rtl="0" eaLnBrk="1" fontAlgn="base" hangingPunct="1">
        <a:spcBef>
          <a:spcPts val="100"/>
        </a:spcBef>
        <a:spcAft>
          <a:spcPct val="0"/>
        </a:spcAft>
        <a:buClr>
          <a:srgbClr val="00BDF2"/>
        </a:buClr>
        <a:buFont typeface="Arial" pitchFamily="-105" charset="0"/>
        <a:buChar char="•"/>
        <a:defRPr sz="1200">
          <a:solidFill>
            <a:srgbClr val="000000"/>
          </a:solidFill>
          <a:latin typeface="+mn-lt"/>
          <a:ea typeface="ＭＳ Ｐゴシック" pitchFamily="42" charset="-128"/>
        </a:defRPr>
      </a:lvl5pPr>
      <a:lvl6pPr marL="2060575" indent="-230188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1200">
          <a:solidFill>
            <a:schemeClr val="tx1"/>
          </a:solidFill>
          <a:latin typeface="+mn-lt"/>
        </a:defRPr>
      </a:lvl6pPr>
      <a:lvl7pPr marL="2517775" indent="-230188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1200">
          <a:solidFill>
            <a:schemeClr val="tx1"/>
          </a:solidFill>
          <a:latin typeface="+mn-lt"/>
        </a:defRPr>
      </a:lvl7pPr>
      <a:lvl8pPr marL="2974975" indent="-230188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1200">
          <a:solidFill>
            <a:schemeClr val="tx1"/>
          </a:solidFill>
          <a:latin typeface="+mn-lt"/>
        </a:defRPr>
      </a:lvl8pPr>
      <a:lvl9pPr marL="3432175" indent="-230188" algn="l" rtl="0" eaLnBrk="1" fontAlgn="base" hangingPunct="1">
        <a:spcBef>
          <a:spcPct val="25000"/>
        </a:spcBef>
        <a:spcAft>
          <a:spcPct val="0"/>
        </a:spcAft>
        <a:buClr>
          <a:schemeClr val="folHlink"/>
        </a:buClr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7440" userDrawn="1">
          <p15:clr>
            <a:srgbClr val="F26B43"/>
          </p15:clr>
        </p15:guide>
        <p15:guide id="4" pos="2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7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16.JPG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06.JPG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07.JPG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08.JPG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09.JPG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10.JPG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11.JPG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12.JPG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13.JPG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14.JPG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15.JP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17.JPG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16.JPG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17.JPG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18.JPG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19.JPG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20.JPG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21.JPG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22.JPG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23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18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19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20.JP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21.JP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22.JP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23.JP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tags" Target="../tags/tag21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24.JP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tags" Target="../tags/tag22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25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8.JP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tags" Target="../tags/tag23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26.JP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tags" Target="../tags/tag24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27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tags" Target="../tags/tag25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28.JP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tags" Target="../tags/tag26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29.JP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tags" Target="../tags/tag27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30.JP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tags" Target="../tags/tag28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31.JP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tags" Target="../tags/tag29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32.JP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tags" Target="../tags/tag30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33.JP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tags" Target="../tags/tag31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34.JP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tags" Target="../tags/tag32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35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9.JP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tags" Target="../tags/tag33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36.JP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tags" Target="../tags/tag34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37.JP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tags" Target="../tags/tag35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38.JP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tags" Target="../tags/tag36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39.JP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tags" Target="../tags/tag37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40.JP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tags" Target="../tags/tag38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41.JP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tags" Target="../tags/tag39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42.JP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tags" Target="../tags/tag40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43.JP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tags" Target="../tags/tag41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44.JP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tags" Target="../tags/tag42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45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10.JP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tags" Target="../tags/tag43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46.JP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tags" Target="../tags/tag44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47.JP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tags" Target="../tags/tag45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48.JP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tags" Target="../tags/tag46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49.JP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tags" Target="../tags/tag47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50.JP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tags" Target="../tags/tag48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51.JP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tags" Target="../tags/tag49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52.JP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tags" Target="../tags/tag50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53.JP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tags" Target="../tags/tag51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54.JP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tags" Target="../tags/tag52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55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11.JP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tags" Target="../tags/tag53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56.JP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tags" Target="../tags/tag54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57.JP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tags" Target="../tags/tag55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58.JP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tags" Target="../tags/tag56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59.JP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tags" Target="../tags/tag57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60.JP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tags" Target="../tags/tag58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61.JP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tags" Target="../tags/tag59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62.JPG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tags" Target="../tags/tag60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63.JPG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tags" Target="../tags/tag61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64.JPG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tags" Target="../tags/tag62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65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12.JP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tags" Target="../tags/tag63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66.JP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tags" Target="../tags/tag64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67.JP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tags" Target="../tags/tag65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68.JPG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tags" Target="../tags/tag66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69.JP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tags" Target="../tags/tag67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70.JP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tags" Target="../tags/tag68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71.JP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tags" Target="../tags/tag69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72.JP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tags" Target="../tags/tag70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73.JPG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tags" Target="../tags/tag71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74.JP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tags" Target="../tags/tag72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75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13.JP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76.jpg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tags" Target="../tags/tag73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77.JPG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tags" Target="../tags/tag74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78.JP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tags" Target="../tags/tag75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79.JPG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tags" Target="../tags/tag76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80.JPG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tags" Target="../tags/tag77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81.JPG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82.JPG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83.JPG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84.JP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85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14.JPG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86.JPG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87.JPG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88.JPG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89.JPG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90.JPG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91.JPG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92.JPG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93.JPG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94.JPG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95.JP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Layout" Target="../slideLayouts/slideLayout8.xml"/><Relationship Id="rId3" Type="http://schemas.openxmlformats.org/officeDocument/2006/relationships/image" Target="../media/image15.JPG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96.JPG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97.JPG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98.JPG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99.JPG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00.JPG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01.JPG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02.JPG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03.JPG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04.JPG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10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1B29D923-7FB7-4943-87E3-C488C63A083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8275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FD7E1035-135B-4611-A5A4-E5501EFBFF6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278751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374822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08793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879904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411017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240164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47711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013175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048543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289956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5641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DC38B70B-A1B0-4E6E-A5E5-ADF4FA83BDB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704350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477253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027529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502384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68627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675861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187393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56864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04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B48BAAE6-5BC0-40F0-98FC-4FF30D08112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7584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AAD155AA-2BC4-4A33-8C5A-87A3F69E332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690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81554412-3198-4C28-90D7-B5DAE8293DA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7749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E455A3C-3CC7-4C93-A950-BBA968D977E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0334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8F1FCAF4-3ABF-4AA2-BA51-8872DBC1C40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9531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8D0318AF-E0CF-4DD9-B2F4-4518320FB79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1833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C493473-D231-4EF5-99D0-BE949274615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6384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AE77E004-8BE1-4D61-915B-B282CC3BEBB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781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1B370B3-319A-4480-8047-CA7FB656917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1711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26FC8879-78AB-48C3-85E1-E940BE95127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757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A370EAA-D06B-4A82-8FB5-4663124D32E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4461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F77085F8-521B-49B6-AA69-07ED9990DEB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1616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51F1D57-FD05-4DDB-AEDA-2B62C9E2E96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5894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A3C84F86-34ED-4453-95C3-2DB9FC8AA87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6940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77C272AB-35A1-4DD2-AC31-75A56815371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2310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0DBF36C6-0875-41DC-8442-66C5B34F85A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6356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3FE80ADC-BD82-41C8-9ECC-815C0DF7844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1932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C7D96F4-720A-4D4A-9965-1FB73C3EFBD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1012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B8865A3-FEDA-4096-8128-0D90875ED05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6944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EA107A1-16AF-4E35-B6C4-0A6BC158F07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0978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AB254DEB-E163-40D3-911D-7BADF171D59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64702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39D83F8-79C8-458C-AA95-E861652F78F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90715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98BB6AB-62F3-4E53-A544-831CCB08634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8483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DE3C7DD8-B7D6-445A-B824-945BE590B8C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2356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0C60948-B9BE-4B51-B536-4BFF430B8F1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8238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056F16E3-6F48-4985-B9FD-DEDB89DF5B9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67567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E8B517EB-2219-4E44-94D6-085DA495943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25196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DC317B55-AAAA-4BA2-A78F-8A42D46BF44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84341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015E04A1-8F00-4184-89E2-77782EF9EF0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39338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1ED8F9F-19D7-4B27-933D-AE50A25EB58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289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3D560CE4-75D5-4DB0-A09D-F96EB295D1EC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7734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D2E8472-5A1F-4431-9C0F-727CCECBB59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53860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99D5732B-27A7-4612-BCFA-F3CF79E11D4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3068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865C1A5-268D-4AB0-9AD6-F58FCBDC502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52079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0829CA72-2410-4C38-BB02-AC44F9A0FDCD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06466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1F24310-9E74-4319-8B94-6605077DF75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5772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FA44DFC7-CBE4-4C4D-A696-CEAC1D5B8D8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169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7B0273A-10E3-4112-B373-167A466EB89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1763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8BE0E7D6-674D-4477-848F-EFEBA27B5B2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68106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4B3FA2A-F0DA-48C5-BF9F-7E702D5A2E8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06034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960338F9-1D3E-4FD6-8BBF-083EFED4BC0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641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D9CCD014-03CB-4012-86FA-C75B5AAC945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1964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E7CCB57B-E611-4E58-91BD-2B9A942EB36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21185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115773D2-7904-43BA-B09F-0A57AE33E16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88560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88852E92-2B1A-4678-AED6-C31D1F45BA3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7586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1432D6F0-1481-4831-B0C8-043A089319C0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67072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B10F655-6F2F-4C83-8DFA-AF1DA7067CF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4039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5E3FBAE-1DB9-4390-9617-918DA166742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61534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BC231089-9B98-405D-BB52-92A40147BEE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45617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1F4DA7F9-3DC4-491E-B40A-8455A1D15CF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49706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BEDC5964-DE29-4191-AEC1-3D302827F8B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62988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3CE41CB4-1427-46B6-9384-AAF12DE0237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2889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48DDEA0-F392-48D2-A07D-8616C4B74AE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08926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1B3703CA-6340-4F6C-A4D7-30340E96072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89896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71987AE6-A114-4D22-8E1B-5F014861E9DB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6270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B6634F4B-E332-40B2-ACEA-12511F9BF89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96628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15E76BBD-FCBA-4E3B-838F-A8E87FB734F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27713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793368FC-87CA-4DEF-9A38-3CAB592B4C9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52881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1DAB5160-37A2-4B9A-8344-C4433B0803F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65569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AC1807C2-F5E4-4CB6-8552-EBCBC3BC814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65153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9F5F0956-2AD7-4EB2-A39F-35FC7D6B55A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17433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01A92CE-DB6C-4BBA-9BDE-F77C8FF2FE3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27279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BD4F58C0-D277-4C16-B07D-340DC5618AD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2185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D34C05F6-CFF1-4A5A-8A8C-6790BAFD1D3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336317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41740CD5-D1FD-4C59-92EC-68FC23B3B2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264408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AFD7B1BB-12BA-4DA7-89E4-22FF906AF6E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49092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36FFE3B-B696-4964-A8D8-861C0371597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38558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FEC5BA10-4821-4C8B-913A-2329272F231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752369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64167FA7-7F51-49DA-9D84-C44C93340F55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16497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955EFF7E-B167-4344-B0B0-58015CEC05BE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81104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229755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63567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042292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969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0D84E8B2-6684-45A9-BE36-E6FCA575064A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83417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932328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539933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51017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761731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34669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161053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549205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400130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791499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7332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B18F9AAD-0985-49D4-8B2F-34C696A0D8B2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511671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217539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702326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728331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994021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85843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62563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69895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82497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082492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5047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PXPICPATH" val="I:\CLIENT\Janssen\JGL-Canagliflozin\JGL62157 EASD CANVAS symposium slides\Final Presentation\EASD 2017_CANVAS Program symposium deck_JGL-62157_FINAL_investigators"/>
  <p:tag name="MMPROD_UIDATA" val="&lt;database version=&quot;11.0&quot;&gt;&lt;object type=&quot;1&quot; unique_id=&quot;10001&quot;&gt;&lt;object type=&quot;2&quot; unique_id=&quot;10002&quot;&gt;&lt;object type=&quot;3&quot; unique_id=&quot;11421&quot;&gt;&lt;property id=&quot;20148&quot; value=&quot;5&quot;/&gt;&lt;property id=&quot;20300&quot; value=&quot;Slide 1&quot;/&gt;&lt;property id=&quot;20307&quot; value=&quot;257&quot;/&gt;&lt;/object&gt;&lt;object type=&quot;3&quot; unique_id=&quot;11422&quot;&gt;&lt;property id=&quot;20148&quot; value=&quot;5&quot;/&gt;&lt;property id=&quot;20300&quot; value=&quot;Slide 2&quot;/&gt;&lt;property id=&quot;20307&quot; value=&quot;258&quot;/&gt;&lt;/object&gt;&lt;object type=&quot;3&quot; unique_id=&quot;11423&quot;&gt;&lt;property id=&quot;20148&quot; value=&quot;5&quot;/&gt;&lt;property id=&quot;20300&quot; value=&quot;Slide 3&quot;/&gt;&lt;property id=&quot;20307&quot; value=&quot;259&quot;/&gt;&lt;/object&gt;&lt;object type=&quot;3&quot; unique_id=&quot;11424&quot;&gt;&lt;property id=&quot;20148&quot; value=&quot;5&quot;/&gt;&lt;property id=&quot;20300&quot; value=&quot;Slide 4&quot;/&gt;&lt;property id=&quot;20307&quot; value=&quot;260&quot;/&gt;&lt;/object&gt;&lt;object type=&quot;3&quot; unique_id=&quot;11425&quot;&gt;&lt;property id=&quot;20148&quot; value=&quot;5&quot;/&gt;&lt;property id=&quot;20300&quot; value=&quot;Slide 5&quot;/&gt;&lt;property id=&quot;20307&quot; value=&quot;261&quot;/&gt;&lt;/object&gt;&lt;object type=&quot;3&quot; unique_id=&quot;11426&quot;&gt;&lt;property id=&quot;20148&quot; value=&quot;5&quot;/&gt;&lt;property id=&quot;20300&quot; value=&quot;Slide 6&quot;/&gt;&lt;property id=&quot;20307&quot; value=&quot;262&quot;/&gt;&lt;/object&gt;&lt;object type=&quot;3&quot; unique_id=&quot;11427&quot;&gt;&lt;property id=&quot;20148&quot; value=&quot;5&quot;/&gt;&lt;property id=&quot;20300&quot; value=&quot;Slide 7&quot;/&gt;&lt;property id=&quot;20307&quot; value=&quot;263&quot;/&gt;&lt;/object&gt;&lt;object type=&quot;3&quot; unique_id=&quot;11428&quot;&gt;&lt;property id=&quot;20148&quot; value=&quot;5&quot;/&gt;&lt;property id=&quot;20300&quot; value=&quot;Slide 8&quot;/&gt;&lt;property id=&quot;20307&quot; value=&quot;264&quot;/&gt;&lt;/object&gt;&lt;object type=&quot;3&quot; unique_id=&quot;11429&quot;&gt;&lt;property id=&quot;20148&quot; value=&quot;5&quot;/&gt;&lt;property id=&quot;20300&quot; value=&quot;Slide 9&quot;/&gt;&lt;property id=&quot;20307&quot; value=&quot;265&quot;/&gt;&lt;/object&gt;&lt;object type=&quot;3&quot; unique_id=&quot;11430&quot;&gt;&lt;property id=&quot;20148&quot; value=&quot;5&quot;/&gt;&lt;property id=&quot;20300&quot; value=&quot;Slide 10&quot;/&gt;&lt;property id=&quot;20307&quot; value=&quot;266&quot;/&gt;&lt;/object&gt;&lt;object type=&quot;3&quot; unique_id=&quot;11431&quot;&gt;&lt;property id=&quot;20148&quot; value=&quot;5&quot;/&gt;&lt;property id=&quot;20300&quot; value=&quot;Slide 11&quot;/&gt;&lt;property id=&quot;20307&quot; value=&quot;267&quot;/&gt;&lt;/object&gt;&lt;object type=&quot;3&quot; unique_id=&quot;11432&quot;&gt;&lt;property id=&quot;20148&quot; value=&quot;5&quot;/&gt;&lt;property id=&quot;20300&quot; value=&quot;Slide 12&quot;/&gt;&lt;property id=&quot;20307&quot; value=&quot;268&quot;/&gt;&lt;/object&gt;&lt;object type=&quot;3&quot; unique_id=&quot;11433&quot;&gt;&lt;property id=&quot;20148&quot; value=&quot;5&quot;/&gt;&lt;property id=&quot;20300&quot; value=&quot;Slide 13&quot;/&gt;&lt;property id=&quot;20307&quot; value=&quot;269&quot;/&gt;&lt;/object&gt;&lt;object type=&quot;3&quot; unique_id=&quot;11434&quot;&gt;&lt;property id=&quot;20148&quot; value=&quot;5&quot;/&gt;&lt;property id=&quot;20300&quot; value=&quot;Slide 14&quot;/&gt;&lt;property id=&quot;20307&quot; value=&quot;270&quot;/&gt;&lt;/object&gt;&lt;object type=&quot;3&quot; unique_id=&quot;11435&quot;&gt;&lt;property id=&quot;20148&quot; value=&quot;5&quot;/&gt;&lt;property id=&quot;20300&quot; value=&quot;Slide 15&quot;/&gt;&lt;property id=&quot;20307&quot; value=&quot;271&quot;/&gt;&lt;/object&gt;&lt;object type=&quot;3&quot; unique_id=&quot;11436&quot;&gt;&lt;property id=&quot;20148&quot; value=&quot;5&quot;/&gt;&lt;property id=&quot;20300&quot; value=&quot;Slide 16&quot;/&gt;&lt;property id=&quot;20307&quot; value=&quot;272&quot;/&gt;&lt;/object&gt;&lt;object type=&quot;3&quot; unique_id=&quot;11437&quot;&gt;&lt;property id=&quot;20148&quot; value=&quot;5&quot;/&gt;&lt;property id=&quot;20300&quot; value=&quot;Slide 17&quot;/&gt;&lt;property id=&quot;20307&quot; value=&quot;273&quot;/&gt;&lt;/object&gt;&lt;object type=&quot;3&quot; unique_id=&quot;11438&quot;&gt;&lt;property id=&quot;20148&quot; value=&quot;5&quot;/&gt;&lt;property id=&quot;20300&quot; value=&quot;Slide 18&quot;/&gt;&lt;property id=&quot;20307&quot; value=&quot;274&quot;/&gt;&lt;/object&gt;&lt;object type=&quot;3&quot; unique_id=&quot;11439&quot;&gt;&lt;property id=&quot;20148&quot; value=&quot;5&quot;/&gt;&lt;property id=&quot;20300&quot; value=&quot;Slide 19&quot;/&gt;&lt;property id=&quot;20307&quot; value=&quot;275&quot;/&gt;&lt;/object&gt;&lt;object type=&quot;3&quot; unique_id=&quot;11440&quot;&gt;&lt;property id=&quot;20148&quot; value=&quot;5&quot;/&gt;&lt;property id=&quot;20300&quot; value=&quot;Slide 20&quot;/&gt;&lt;property id=&quot;20307&quot; value=&quot;276&quot;/&gt;&lt;/object&gt;&lt;object type=&quot;3&quot; unique_id=&quot;11441&quot;&gt;&lt;property id=&quot;20148&quot; value=&quot;5&quot;/&gt;&lt;property id=&quot;20300&quot; value=&quot;Slide 21&quot;/&gt;&lt;property id=&quot;20307&quot; value=&quot;277&quot;/&gt;&lt;/object&gt;&lt;object type=&quot;3&quot; unique_id=&quot;11442&quot;&gt;&lt;property id=&quot;20148&quot; value=&quot;5&quot;/&gt;&lt;property id=&quot;20300&quot; value=&quot;Slide 22&quot;/&gt;&lt;property id=&quot;20307&quot; value=&quot;278&quot;/&gt;&lt;/object&gt;&lt;object type=&quot;3&quot; unique_id=&quot;11443&quot;&gt;&lt;property id=&quot;20148&quot; value=&quot;5&quot;/&gt;&lt;property id=&quot;20300&quot; value=&quot;Slide 23&quot;/&gt;&lt;property id=&quot;20307&quot; value=&quot;279&quot;/&gt;&lt;/object&gt;&lt;object type=&quot;3&quot; unique_id=&quot;11444&quot;&gt;&lt;property id=&quot;20148&quot; value=&quot;5&quot;/&gt;&lt;property id=&quot;20300&quot; value=&quot;Slide 24&quot;/&gt;&lt;property id=&quot;20307&quot; value=&quot;280&quot;/&gt;&lt;/object&gt;&lt;object type=&quot;3&quot; unique_id=&quot;11445&quot;&gt;&lt;property id=&quot;20148&quot; value=&quot;5&quot;/&gt;&lt;property id=&quot;20300&quot; value=&quot;Slide 25&quot;/&gt;&lt;property id=&quot;20307&quot; value=&quot;281&quot;/&gt;&lt;/object&gt;&lt;object type=&quot;3&quot; unique_id=&quot;11446&quot;&gt;&lt;property id=&quot;20148&quot; value=&quot;5&quot;/&gt;&lt;property id=&quot;20300&quot; value=&quot;Slide 26&quot;/&gt;&lt;property id=&quot;20307&quot; value=&quot;282&quot;/&gt;&lt;/object&gt;&lt;object type=&quot;3&quot; unique_id=&quot;11447&quot;&gt;&lt;property id=&quot;20148&quot; value=&quot;5&quot;/&gt;&lt;property id=&quot;20300&quot; value=&quot;Slide 27&quot;/&gt;&lt;property id=&quot;20307&quot; value=&quot;283&quot;/&gt;&lt;/object&gt;&lt;object type=&quot;3&quot; unique_id=&quot;11448&quot;&gt;&lt;property id=&quot;20148&quot; value=&quot;5&quot;/&gt;&lt;property id=&quot;20300&quot; value=&quot;Slide 28&quot;/&gt;&lt;property id=&quot;20307&quot; value=&quot;284&quot;/&gt;&lt;/object&gt;&lt;object type=&quot;3&quot; unique_id=&quot;11449&quot;&gt;&lt;property id=&quot;20148&quot; value=&quot;5&quot;/&gt;&lt;property id=&quot;20300&quot; value=&quot;Slide 29&quot;/&gt;&lt;property id=&quot;20307&quot; value=&quot;285&quot;/&gt;&lt;/object&gt;&lt;object type=&quot;3&quot; unique_id=&quot;11450&quot;&gt;&lt;property id=&quot;20148&quot; value=&quot;5&quot;/&gt;&lt;property id=&quot;20300&quot; value=&quot;Slide 30&quot;/&gt;&lt;property id=&quot;20307&quot; value=&quot;286&quot;/&gt;&lt;/object&gt;&lt;object type=&quot;3&quot; unique_id=&quot;11451&quot;&gt;&lt;property id=&quot;20148&quot; value=&quot;5&quot;/&gt;&lt;property id=&quot;20300&quot; value=&quot;Slide 31&quot;/&gt;&lt;property id=&quot;20307&quot; value=&quot;287&quot;/&gt;&lt;/object&gt;&lt;object type=&quot;3&quot; unique_id=&quot;11452&quot;&gt;&lt;property id=&quot;20148&quot; value=&quot;5&quot;/&gt;&lt;property id=&quot;20300&quot; value=&quot;Slide 32&quot;/&gt;&lt;property id=&quot;20307&quot; value=&quot;288&quot;/&gt;&lt;/object&gt;&lt;object type=&quot;3&quot; unique_id=&quot;11453&quot;&gt;&lt;property id=&quot;20148&quot; value=&quot;5&quot;/&gt;&lt;property id=&quot;20300&quot; value=&quot;Slide 33&quot;/&gt;&lt;property id=&quot;20307&quot; value=&quot;289&quot;/&gt;&lt;/object&gt;&lt;object type=&quot;3&quot; unique_id=&quot;11454&quot;&gt;&lt;property id=&quot;20148&quot; value=&quot;5&quot;/&gt;&lt;property id=&quot;20300&quot; value=&quot;Slide 34&quot;/&gt;&lt;property id=&quot;20307&quot; value=&quot;290&quot;/&gt;&lt;/object&gt;&lt;object type=&quot;3&quot; unique_id=&quot;11455&quot;&gt;&lt;property id=&quot;20148&quot; value=&quot;5&quot;/&gt;&lt;property id=&quot;20300&quot; value=&quot;Slide 35&quot;/&gt;&lt;property id=&quot;20307&quot; value=&quot;291&quot;/&gt;&lt;/object&gt;&lt;object type=&quot;3&quot; unique_id=&quot;11456&quot;&gt;&lt;property id=&quot;20148&quot; value=&quot;5&quot;/&gt;&lt;property id=&quot;20300&quot; value=&quot;Slide 36&quot;/&gt;&lt;property id=&quot;20307&quot; value=&quot;292&quot;/&gt;&lt;/object&gt;&lt;object type=&quot;3&quot; unique_id=&quot;11457&quot;&gt;&lt;property id=&quot;20148&quot; value=&quot;5&quot;/&gt;&lt;property id=&quot;20300&quot; value=&quot;Slide 37&quot;/&gt;&lt;property id=&quot;20307&quot; value=&quot;293&quot;/&gt;&lt;/object&gt;&lt;object type=&quot;3&quot; unique_id=&quot;11458&quot;&gt;&lt;property id=&quot;20148&quot; value=&quot;5&quot;/&gt;&lt;property id=&quot;20300&quot; value=&quot;Slide 38&quot;/&gt;&lt;property id=&quot;20307&quot; value=&quot;294&quot;/&gt;&lt;/object&gt;&lt;object type=&quot;3&quot; unique_id=&quot;11459&quot;&gt;&lt;property id=&quot;20148&quot; value=&quot;5&quot;/&gt;&lt;property id=&quot;20300&quot; value=&quot;Slide 39&quot;/&gt;&lt;property id=&quot;20307&quot; value=&quot;295&quot;/&gt;&lt;/object&gt;&lt;object type=&quot;3&quot; unique_id=&quot;11460&quot;&gt;&lt;property id=&quot;20148&quot; value=&quot;5&quot;/&gt;&lt;property id=&quot;20300&quot; value=&quot;Slide 40&quot;/&gt;&lt;property id=&quot;20307&quot; value=&quot;296&quot;/&gt;&lt;/object&gt;&lt;object type=&quot;3&quot; unique_id=&quot;11461&quot;&gt;&lt;property id=&quot;20148&quot; value=&quot;5&quot;/&gt;&lt;property id=&quot;20300&quot; value=&quot;Slide 41&quot;/&gt;&lt;property id=&quot;20307&quot; value=&quot;297&quot;/&gt;&lt;/object&gt;&lt;object type=&quot;3&quot; unique_id=&quot;11462&quot;&gt;&lt;property id=&quot;20148&quot; value=&quot;5&quot;/&gt;&lt;property id=&quot;20300&quot; value=&quot;Slide 42&quot;/&gt;&lt;property id=&quot;20307&quot; value=&quot;298&quot;/&gt;&lt;/object&gt;&lt;object type=&quot;3&quot; unique_id=&quot;11463&quot;&gt;&lt;property id=&quot;20148&quot; value=&quot;5&quot;/&gt;&lt;property id=&quot;20300&quot; value=&quot;Slide 43&quot;/&gt;&lt;property id=&quot;20307&quot; value=&quot;299&quot;/&gt;&lt;/object&gt;&lt;object type=&quot;3&quot; unique_id=&quot;11464&quot;&gt;&lt;property id=&quot;20148&quot; value=&quot;5&quot;/&gt;&lt;property id=&quot;20300&quot; value=&quot;Slide 44&quot;/&gt;&lt;property id=&quot;20307&quot; value=&quot;300&quot;/&gt;&lt;/object&gt;&lt;object type=&quot;3&quot; unique_id=&quot;11465&quot;&gt;&lt;property id=&quot;20148&quot; value=&quot;5&quot;/&gt;&lt;property id=&quot;20300&quot; value=&quot;Slide 45&quot;/&gt;&lt;property id=&quot;20307&quot; value=&quot;301&quot;/&gt;&lt;/object&gt;&lt;object type=&quot;3&quot; unique_id=&quot;11466&quot;&gt;&lt;property id=&quot;20148&quot; value=&quot;5&quot;/&gt;&lt;property id=&quot;20300&quot; value=&quot;Slide 46&quot;/&gt;&lt;property id=&quot;20307&quot; value=&quot;302&quot;/&gt;&lt;/object&gt;&lt;object type=&quot;3&quot; unique_id=&quot;11467&quot;&gt;&lt;property id=&quot;20148&quot; value=&quot;5&quot;/&gt;&lt;property id=&quot;20300&quot; value=&quot;Slide 47&quot;/&gt;&lt;property id=&quot;20307&quot; value=&quot;303&quot;/&gt;&lt;/object&gt;&lt;object type=&quot;3&quot; unique_id=&quot;11468&quot;&gt;&lt;property id=&quot;20148&quot; value=&quot;5&quot;/&gt;&lt;property id=&quot;20300&quot; value=&quot;Slide 48&quot;/&gt;&lt;property id=&quot;20307&quot; value=&quot;304&quot;/&gt;&lt;/object&gt;&lt;object type=&quot;3&quot; unique_id=&quot;11469&quot;&gt;&lt;property id=&quot;20148&quot; value=&quot;5&quot;/&gt;&lt;property id=&quot;20300&quot; value=&quot;Slide 49&quot;/&gt;&lt;property id=&quot;20307&quot; value=&quot;305&quot;/&gt;&lt;/object&gt;&lt;object type=&quot;3&quot; unique_id=&quot;11470&quot;&gt;&lt;property id=&quot;20148&quot; value=&quot;5&quot;/&gt;&lt;property id=&quot;20300&quot; value=&quot;Slide 50&quot;/&gt;&lt;property id=&quot;20307&quot; value=&quot;306&quot;/&gt;&lt;/object&gt;&lt;object type=&quot;3&quot; unique_id=&quot;11471&quot;&gt;&lt;property id=&quot;20148&quot; value=&quot;5&quot;/&gt;&lt;property id=&quot;20300&quot; value=&quot;Slide 51&quot;/&gt;&lt;property id=&quot;20307&quot; value=&quot;307&quot;/&gt;&lt;/object&gt;&lt;object type=&quot;3&quot; unique_id=&quot;11472&quot;&gt;&lt;property id=&quot;20148&quot; value=&quot;5&quot;/&gt;&lt;property id=&quot;20300&quot; value=&quot;Slide 52&quot;/&gt;&lt;property id=&quot;20307&quot; value=&quot;308&quot;/&gt;&lt;/object&gt;&lt;object type=&quot;3&quot; unique_id=&quot;11473&quot;&gt;&lt;property id=&quot;20148&quot; value=&quot;5&quot;/&gt;&lt;property id=&quot;20300&quot; value=&quot;Slide 53&quot;/&gt;&lt;property id=&quot;20307&quot; value=&quot;309&quot;/&gt;&lt;/object&gt;&lt;object type=&quot;3&quot; unique_id=&quot;11474&quot;&gt;&lt;property id=&quot;20148&quot; value=&quot;5&quot;/&gt;&lt;property id=&quot;20300&quot; value=&quot;Slide 54&quot;/&gt;&lt;property id=&quot;20307&quot; value=&quot;310&quot;/&gt;&lt;/object&gt;&lt;object type=&quot;3&quot; unique_id=&quot;11475&quot;&gt;&lt;property id=&quot;20148&quot; value=&quot;5&quot;/&gt;&lt;property id=&quot;20300&quot; value=&quot;Slide 55&quot;/&gt;&lt;property id=&quot;20307&quot; value=&quot;311&quot;/&gt;&lt;/object&gt;&lt;object type=&quot;3&quot; unique_id=&quot;11476&quot;&gt;&lt;property id=&quot;20148&quot; value=&quot;5&quot;/&gt;&lt;property id=&quot;20300&quot; value=&quot;Slide 56&quot;/&gt;&lt;property id=&quot;20307&quot; value=&quot;312&quot;/&gt;&lt;/object&gt;&lt;object type=&quot;3&quot; unique_id=&quot;11477&quot;&gt;&lt;property id=&quot;20148&quot; value=&quot;5&quot;/&gt;&lt;property id=&quot;20300&quot; value=&quot;Slide 57&quot;/&gt;&lt;property id=&quot;20307&quot; value=&quot;313&quot;/&gt;&lt;/object&gt;&lt;object type=&quot;3&quot; unique_id=&quot;11478&quot;&gt;&lt;property id=&quot;20148&quot; value=&quot;5&quot;/&gt;&lt;property id=&quot;20300&quot; value=&quot;Slide 58&quot;/&gt;&lt;property id=&quot;20307&quot; value=&quot;314&quot;/&gt;&lt;/object&gt;&lt;object type=&quot;3&quot; unique_id=&quot;11479&quot;&gt;&lt;property id=&quot;20148&quot; value=&quot;5&quot;/&gt;&lt;property id=&quot;20300&quot; value=&quot;Slide 59&quot;/&gt;&lt;property id=&quot;20307&quot; value=&quot;315&quot;/&gt;&lt;/object&gt;&lt;object type=&quot;3&quot; unique_id=&quot;11480&quot;&gt;&lt;property id=&quot;20148&quot; value=&quot;5&quot;/&gt;&lt;property id=&quot;20300&quot; value=&quot;Slide 60&quot;/&gt;&lt;property id=&quot;20307&quot; value=&quot;316&quot;/&gt;&lt;/object&gt;&lt;object type=&quot;3&quot; unique_id=&quot;11481&quot;&gt;&lt;property id=&quot;20148&quot; value=&quot;5&quot;/&gt;&lt;property id=&quot;20300&quot; value=&quot;Slide 61&quot;/&gt;&lt;property id=&quot;20307&quot; value=&quot;317&quot;/&gt;&lt;/object&gt;&lt;object type=&quot;3&quot; unique_id=&quot;11482&quot;&gt;&lt;property id=&quot;20148&quot; value=&quot;5&quot;/&gt;&lt;property id=&quot;20300&quot; value=&quot;Slide 62&quot;/&gt;&lt;property id=&quot;20307&quot; value=&quot;318&quot;/&gt;&lt;/object&gt;&lt;object type=&quot;3&quot; unique_id=&quot;11483&quot;&gt;&lt;property id=&quot;20148&quot; value=&quot;5&quot;/&gt;&lt;property id=&quot;20300&quot; value=&quot;Slide 63&quot;/&gt;&lt;property id=&quot;20307&quot; value=&quot;319&quot;/&gt;&lt;/object&gt;&lt;object type=&quot;3&quot; unique_id=&quot;11484&quot;&gt;&lt;property id=&quot;20148&quot; value=&quot;5&quot;/&gt;&lt;property id=&quot;20300&quot; value=&quot;Slide 64&quot;/&gt;&lt;property id=&quot;20307&quot; value=&quot;320&quot;/&gt;&lt;/object&gt;&lt;object type=&quot;3&quot; unique_id=&quot;11485&quot;&gt;&lt;property id=&quot;20148&quot; value=&quot;5&quot;/&gt;&lt;property id=&quot;20300&quot; value=&quot;Slide 65&quot;/&gt;&lt;property id=&quot;20307&quot; value=&quot;321&quot;/&gt;&lt;/object&gt;&lt;object type=&quot;3&quot; unique_id=&quot;11486&quot;&gt;&lt;property id=&quot;20148&quot; value=&quot;5&quot;/&gt;&lt;property id=&quot;20300&quot; value=&quot;Slide 66&quot;/&gt;&lt;property id=&quot;20307&quot; value=&quot;322&quot;/&gt;&lt;/object&gt;&lt;object type=&quot;3&quot; unique_id=&quot;11487&quot;&gt;&lt;property id=&quot;20148&quot; value=&quot;5&quot;/&gt;&lt;property id=&quot;20300&quot; value=&quot;Slide 67&quot;/&gt;&lt;property id=&quot;20307&quot; value=&quot;323&quot;/&gt;&lt;/object&gt;&lt;object type=&quot;3&quot; unique_id=&quot;11488&quot;&gt;&lt;property id=&quot;20148&quot; value=&quot;5&quot;/&gt;&lt;property id=&quot;20300&quot; value=&quot;Slide 68&quot;/&gt;&lt;property id=&quot;20307&quot; value=&quot;324&quot;/&gt;&lt;/object&gt;&lt;object type=&quot;3&quot; unique_id=&quot;11489&quot;&gt;&lt;property id=&quot;20148&quot; value=&quot;5&quot;/&gt;&lt;property id=&quot;20300&quot; value=&quot;Slide 69&quot;/&gt;&lt;property id=&quot;20307&quot; value=&quot;325&quot;/&gt;&lt;/object&gt;&lt;object type=&quot;3&quot; unique_id=&quot;11490&quot;&gt;&lt;property id=&quot;20148&quot; value=&quot;5&quot;/&gt;&lt;property id=&quot;20300&quot; value=&quot;Slide 70&quot;/&gt;&lt;property id=&quot;20307&quot; value=&quot;326&quot;/&gt;&lt;/object&gt;&lt;object type=&quot;3&quot; unique_id=&quot;11491&quot;&gt;&lt;property id=&quot;20148&quot; value=&quot;5&quot;/&gt;&lt;property id=&quot;20300&quot; value=&quot;Slide 71&quot;/&gt;&lt;property id=&quot;20307&quot; value=&quot;327&quot;/&gt;&lt;/object&gt;&lt;object type=&quot;3&quot; unique_id=&quot;11492&quot;&gt;&lt;property id=&quot;20148&quot; value=&quot;5&quot;/&gt;&lt;property id=&quot;20300&quot; value=&quot;Slide 72&quot;/&gt;&lt;property id=&quot;20307&quot; value=&quot;328&quot;/&gt;&lt;/object&gt;&lt;object type=&quot;3&quot; unique_id=&quot;11493&quot;&gt;&lt;property id=&quot;20148&quot; value=&quot;5&quot;/&gt;&lt;property id=&quot;20300&quot; value=&quot;Slide 73&quot;/&gt;&lt;property id=&quot;20307&quot; value=&quot;329&quot;/&gt;&lt;/object&gt;&lt;object type=&quot;3&quot; unique_id=&quot;11494&quot;&gt;&lt;property id=&quot;20148&quot; value=&quot;5&quot;/&gt;&lt;property id=&quot;20300&quot; value=&quot;Slide 74&quot;/&gt;&lt;property id=&quot;20307&quot; value=&quot;330&quot;/&gt;&lt;/object&gt;&lt;object type=&quot;3&quot; unique_id=&quot;11495&quot;&gt;&lt;property id=&quot;20148&quot; value=&quot;5&quot;/&gt;&lt;property id=&quot;20300&quot; value=&quot;Slide 75&quot;/&gt;&lt;property id=&quot;20307&quot; value=&quot;331&quot;/&gt;&lt;/object&gt;&lt;object type=&quot;3&quot; unique_id=&quot;11497&quot;&gt;&lt;property id=&quot;20148&quot; value=&quot;5&quot;/&gt;&lt;property id=&quot;20300&quot; value=&quot;Slide 76&quot;/&gt;&lt;property id=&quot;20307&quot; value=&quot;332&quot;/&gt;&lt;/object&gt;&lt;object type=&quot;3&quot; unique_id=&quot;11498&quot;&gt;&lt;property id=&quot;20148&quot; value=&quot;5&quot;/&gt;&lt;property id=&quot;20300&quot; value=&quot;Slide 77&quot;/&gt;&lt;property id=&quot;20307&quot; value=&quot;333&quot;/&gt;&lt;/object&gt;&lt;object type=&quot;3&quot; unique_id=&quot;11499&quot;&gt;&lt;property id=&quot;20148&quot; value=&quot;5&quot;/&gt;&lt;property id=&quot;20300&quot; value=&quot;Slide 78&quot;/&gt;&lt;property id=&quot;20307&quot; value=&quot;334&quot;/&gt;&lt;/object&gt;&lt;object type=&quot;3&quot; unique_id=&quot;11500&quot;&gt;&lt;property id=&quot;20148&quot; value=&quot;5&quot;/&gt;&lt;property id=&quot;20300&quot; value=&quot;Slide 79&quot;/&gt;&lt;property id=&quot;20307&quot; value=&quot;335&quot;/&gt;&lt;/object&gt;&lt;object type=&quot;3&quot; unique_id=&quot;11501&quot;&gt;&lt;property id=&quot;20148&quot; value=&quot;5&quot;/&gt;&lt;property id=&quot;20300&quot; value=&quot;Slide 80&quot;/&gt;&lt;property id=&quot;20307&quot; value=&quot;336&quot;/&gt;&lt;/object&gt;&lt;object type=&quot;3&quot; unique_id=&quot;11502&quot;&gt;&lt;property id=&quot;20148&quot; value=&quot;5&quot;/&gt;&lt;property id=&quot;20300&quot; value=&quot;Slide 81&quot;/&gt;&lt;property id=&quot;20307&quot; value=&quot;337&quot;/&gt;&lt;/object&gt;&lt;object type=&quot;3&quot; unique_id=&quot;11503&quot;&gt;&lt;property id=&quot;20148&quot; value=&quot;5&quot;/&gt;&lt;property id=&quot;20300&quot; value=&quot;Slide 82&quot;/&gt;&lt;property id=&quot;20307&quot; value=&quot;338&quot;/&gt;&lt;/object&gt;&lt;object type=&quot;3&quot; unique_id=&quot;11504&quot;&gt;&lt;property id=&quot;20148&quot; value=&quot;5&quot;/&gt;&lt;property id=&quot;20300&quot; value=&quot;Slide 83&quot;/&gt;&lt;property id=&quot;20307&quot; value=&quot;339&quot;/&gt;&lt;/object&gt;&lt;object type=&quot;3&quot; unique_id=&quot;11505&quot;&gt;&lt;property id=&quot;20148&quot; value=&quot;5&quot;/&gt;&lt;property id=&quot;20300&quot; value=&quot;Slide 84&quot;/&gt;&lt;property id=&quot;20307&quot; value=&quot;340&quot;/&gt;&lt;/object&gt;&lt;object type=&quot;3&quot; unique_id=&quot;11506&quot;&gt;&lt;property id=&quot;20148&quot; value=&quot;5&quot;/&gt;&lt;property id=&quot;20300&quot; value=&quot;Slide 85&quot;/&gt;&lt;property id=&quot;20307&quot; value=&quot;341&quot;/&gt;&lt;/object&gt;&lt;object type=&quot;3&quot; unique_id=&quot;11507&quot;&gt;&lt;property id=&quot;20148&quot; value=&quot;5&quot;/&gt;&lt;property id=&quot;20300&quot; value=&quot;Slide 86&quot;/&gt;&lt;property id=&quot;20307&quot; value=&quot;342&quot;/&gt;&lt;/object&gt;&lt;object type=&quot;3&quot; unique_id=&quot;11508&quot;&gt;&lt;property id=&quot;20148&quot; value=&quot;5&quot;/&gt;&lt;property id=&quot;20300&quot; value=&quot;Slide 87&quot;/&gt;&lt;property id=&quot;20307&quot; value=&quot;343&quot;/&gt;&lt;/object&gt;&lt;object type=&quot;3&quot; unique_id=&quot;11509&quot;&gt;&lt;property id=&quot;20148&quot; value=&quot;5&quot;/&gt;&lt;property id=&quot;20300&quot; value=&quot;Slide 88&quot;/&gt;&lt;property id=&quot;20307&quot; value=&quot;344&quot;/&gt;&lt;/object&gt;&lt;object type=&quot;3&quot; unique_id=&quot;11510&quot;&gt;&lt;property id=&quot;20148&quot; value=&quot;5&quot;/&gt;&lt;property id=&quot;20300&quot; value=&quot;Slide 89&quot;/&gt;&lt;property id=&quot;20307&quot; value=&quot;345&quot;/&gt;&lt;/object&gt;&lt;object type=&quot;3&quot; unique_id=&quot;11511&quot;&gt;&lt;property id=&quot;20148&quot; value=&quot;5&quot;/&gt;&lt;property id=&quot;20300&quot; value=&quot;Slide 90&quot;/&gt;&lt;property id=&quot;20307&quot; value=&quot;346&quot;/&gt;&lt;/object&gt;&lt;object type=&quot;3&quot; unique_id=&quot;11512&quot;&gt;&lt;property id=&quot;20148&quot; value=&quot;5&quot;/&gt;&lt;property id=&quot;20300&quot; value=&quot;Slide 91&quot;/&gt;&lt;property id=&quot;20307&quot; value=&quot;347&quot;/&gt;&lt;/object&gt;&lt;object type=&quot;3&quot; unique_id=&quot;11513&quot;&gt;&lt;property id=&quot;20148&quot; value=&quot;5&quot;/&gt;&lt;property id=&quot;20300&quot; value=&quot;Slide 92&quot;/&gt;&lt;property id=&quot;20307&quot; value=&quot;348&quot;/&gt;&lt;/object&gt;&lt;object type=&quot;3&quot; unique_id=&quot;11514&quot;&gt;&lt;property id=&quot;20148&quot; value=&quot;5&quot;/&gt;&lt;property id=&quot;20300&quot; value=&quot;Slide 93&quot;/&gt;&lt;property id=&quot;20307&quot; value=&quot;349&quot;/&gt;&lt;/object&gt;&lt;object type=&quot;3&quot; unique_id=&quot;11515&quot;&gt;&lt;property id=&quot;20148&quot; value=&quot;5&quot;/&gt;&lt;property id=&quot;20300&quot; value=&quot;Slide 94&quot;/&gt;&lt;property id=&quot;20307&quot; value=&quot;350&quot;/&gt;&lt;/object&gt;&lt;object type=&quot;3&quot; unique_id=&quot;11516&quot;&gt;&lt;property id=&quot;20148&quot; value=&quot;5&quot;/&gt;&lt;property id=&quot;20300&quot; value=&quot;Slide 95&quot;/&gt;&lt;property id=&quot;20307&quot; value=&quot;351&quot;/&gt;&lt;/object&gt;&lt;object type=&quot;3&quot; unique_id=&quot;11517&quot;&gt;&lt;property id=&quot;20148&quot; value=&quot;5&quot;/&gt;&lt;property id=&quot;20300&quot; value=&quot;Slide 96&quot;/&gt;&lt;property id=&quot;20307&quot; value=&quot;352&quot;/&gt;&lt;/object&gt;&lt;object type=&quot;3&quot; unique_id=&quot;11518&quot;&gt;&lt;property id=&quot;20148&quot; value=&quot;5&quot;/&gt;&lt;property id=&quot;20300&quot; value=&quot;Slide 97&quot;/&gt;&lt;property id=&quot;20307&quot; value=&quot;353&quot;/&gt;&lt;/object&gt;&lt;object type=&quot;3&quot; unique_id=&quot;11519&quot;&gt;&lt;property id=&quot;20148&quot; value=&quot;5&quot;/&gt;&lt;property id=&quot;20300&quot; value=&quot;Slide 98&quot;/&gt;&lt;property id=&quot;20307&quot; value=&quot;354&quot;/&gt;&lt;/object&gt;&lt;object type=&quot;3&quot; unique_id=&quot;11520&quot;&gt;&lt;property id=&quot;20148&quot; value=&quot;5&quot;/&gt;&lt;property id=&quot;20300&quot; value=&quot;Slide 99&quot;/&gt;&lt;property id=&quot;20307&quot; value=&quot;355&quot;/&gt;&lt;/object&gt;&lt;object type=&quot;3&quot; unique_id=&quot;11521&quot;&gt;&lt;property id=&quot;20148&quot; value=&quot;5&quot;/&gt;&lt;property id=&quot;20300&quot; value=&quot;Slide 100&quot;/&gt;&lt;property id=&quot;20307&quot; value=&quot;356&quot;/&gt;&lt;/object&gt;&lt;object type=&quot;3&quot; unique_id=&quot;11522&quot;&gt;&lt;property id=&quot;20148&quot; value=&quot;5&quot;/&gt;&lt;property id=&quot;20300&quot; value=&quot;Slide 101&quot;/&gt;&lt;property id=&quot;20307&quot; value=&quot;357&quot;/&gt;&lt;/object&gt;&lt;object type=&quot;3&quot; unique_id=&quot;11523&quot;&gt;&lt;property id=&quot;20148&quot; value=&quot;5&quot;/&gt;&lt;property id=&quot;20300&quot; value=&quot;Slide 102&quot;/&gt;&lt;property id=&quot;20307&quot; value=&quot;358&quot;/&gt;&lt;/object&gt;&lt;object type=&quot;3&quot; unique_id=&quot;11524&quot;&gt;&lt;property id=&quot;20148&quot; value=&quot;5&quot;/&gt;&lt;property id=&quot;20300&quot; value=&quot;Slide 103&quot;/&gt;&lt;property id=&quot;20307&quot; value=&quot;359&quot;/&gt;&lt;/object&gt;&lt;object type=&quot;3&quot; unique_id=&quot;11525&quot;&gt;&lt;property id=&quot;20148&quot; value=&quot;5&quot;/&gt;&lt;property id=&quot;20300&quot; value=&quot;Slide 104&quot;/&gt;&lt;property id=&quot;20307&quot; value=&quot;360&quot;/&gt;&lt;/object&gt;&lt;object type=&quot;3&quot; unique_id=&quot;11526&quot;&gt;&lt;property id=&quot;20148&quot; value=&quot;5&quot;/&gt;&lt;property id=&quot;20300&quot; value=&quot;Slide 105&quot;/&gt;&lt;property id=&quot;20307&quot; value=&quot;361&quot;/&gt;&lt;/object&gt;&lt;object type=&quot;3&quot; unique_id=&quot;11527&quot;&gt;&lt;property id=&quot;20148&quot; value=&quot;5&quot;/&gt;&lt;property id=&quot;20300&quot; value=&quot;Slide 106&quot;/&gt;&lt;property id=&quot;20307&quot; value=&quot;362&quot;/&gt;&lt;/object&gt;&lt;object type=&quot;3&quot; unique_id=&quot;11528&quot;&gt;&lt;property id=&quot;20148&quot; value=&quot;5&quot;/&gt;&lt;property id=&quot;20300&quot; value=&quot;Slide 107&quot;/&gt;&lt;property id=&quot;20307&quot; value=&quot;363&quot;/&gt;&lt;/object&gt;&lt;object type=&quot;3&quot; unique_id=&quot;11529&quot;&gt;&lt;property id=&quot;20148&quot; value=&quot;5&quot;/&gt;&lt;property id=&quot;20300&quot; value=&quot;Slide 108&quot;/&gt;&lt;property id=&quot;20307&quot; value=&quot;364&quot;/&gt;&lt;/object&gt;&lt;object type=&quot;3&quot; unique_id=&quot;11530&quot;&gt;&lt;property id=&quot;20148&quot; value=&quot;5&quot;/&gt;&lt;property id=&quot;20300&quot; value=&quot;Slide 109&quot;/&gt;&lt;property id=&quot;20307&quot; value=&quot;365&quot;/&gt;&lt;/object&gt;&lt;object type=&quot;3&quot; unique_id=&quot;11531&quot;&gt;&lt;property id=&quot;20148&quot; value=&quot;5&quot;/&gt;&lt;property id=&quot;20300&quot; value=&quot;Slide 110&quot;/&gt;&lt;property id=&quot;20307&quot; value=&quot;366&quot;/&gt;&lt;/object&gt;&lt;object type=&quot;3&quot; unique_id=&quot;11532&quot;&gt;&lt;property id=&quot;20148&quot; value=&quot;5&quot;/&gt;&lt;property id=&quot;20300&quot; value=&quot;Slide 111&quot;/&gt;&lt;property id=&quot;20307&quot; value=&quot;367&quot;/&gt;&lt;/object&gt;&lt;object type=&quot;3&quot; unique_id=&quot;11533&quot;&gt;&lt;property id=&quot;20148&quot; value=&quot;5&quot;/&gt;&lt;property id=&quot;20300&quot; value=&quot;Slide 112&quot;/&gt;&lt;property id=&quot;20307&quot; value=&quot;368&quot;/&gt;&lt;/object&gt;&lt;object type=&quot;3&quot; unique_id=&quot;11534&quot;&gt;&lt;property id=&quot;20148&quot; value=&quot;5&quot;/&gt;&lt;property id=&quot;20300&quot; value=&quot;Slide 113&quot;/&gt;&lt;property id=&quot;20307&quot; value=&quot;369&quot;/&gt;&lt;/object&gt;&lt;object type=&quot;3&quot; unique_id=&quot;11535&quot;&gt;&lt;property id=&quot;20148&quot; value=&quot;5&quot;/&gt;&lt;property id=&quot;20300&quot; value=&quot;Slide 114&quot;/&gt;&lt;property id=&quot;20307&quot; value=&quot;370&quot;/&gt;&lt;/object&gt;&lt;object type=&quot;3&quot; unique_id=&quot;11536&quot;&gt;&lt;property id=&quot;20148&quot; value=&quot;5&quot;/&gt;&lt;property id=&quot;20300&quot; value=&quot;Slide 115&quot;/&gt;&lt;property id=&quot;20307&quot; value=&quot;371&quot;/&gt;&lt;/object&gt;&lt;object type=&quot;3&quot; unique_id=&quot;11537&quot;&gt;&lt;property id=&quot;20148&quot; value=&quot;5&quot;/&gt;&lt;property id=&quot;20300&quot; value=&quot;Slide 116&quot;/&gt;&lt;property id=&quot;20307&quot; value=&quot;372&quot;/&gt;&lt;/object&gt;&lt;object type=&quot;3&quot; unique_id=&quot;11538&quot;&gt;&lt;property id=&quot;20148&quot; value=&quot;5&quot;/&gt;&lt;property id=&quot;20300&quot; value=&quot;Slide 117&quot;/&gt;&lt;property id=&quot;20307&quot; value=&quot;373&quot;/&gt;&lt;/object&gt;&lt;/object&gt;&lt;object type=&quot;8&quot; unique_id=&quot;10218&quot;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7.J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8.J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9.J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10.J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11.J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12.J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13.J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14.J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15.J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16.J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17.J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18.J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19.J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20.J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21.J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22.J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23.JP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24.JP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25.JP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26.J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27.J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28.JP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29.J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30.J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31.JP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32.J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33.J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34.JP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35.J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36.J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1.JP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37.J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38.JP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39.J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40.JP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41.JP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42.J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43.JP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44.J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45.J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46.J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2.JP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47.JP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48.J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49.JP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50.JP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51.JP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52.JP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53.J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54.J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55.JP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56.J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3.JP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57.JP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58.JP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59.JP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60.JP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61.J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62.JP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63.JP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64.JP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65.JP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66.J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4.JP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67.JP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68.JP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69.JP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71.JP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72.JP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73.JP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74.JP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75.J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5.J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XPICPATH" val="EASD 2017_CANVAS PROGRAM SYMPOSIUM DECK_JGL-62157_FINAL_INVESTIGATORS\SLIDE6.JPG"/>
</p:tagLst>
</file>

<file path=ppt/theme/theme1.xml><?xml version="1.0" encoding="utf-8"?>
<a:theme xmlns:a="http://schemas.openxmlformats.org/drawingml/2006/main" name="13:9 CANVAS Program Template">
  <a:themeElements>
    <a:clrScheme name="CANVAS V2">
      <a:dk1>
        <a:srgbClr val="00427A"/>
      </a:dk1>
      <a:lt1>
        <a:srgbClr val="FFFFFF"/>
      </a:lt1>
      <a:dk2>
        <a:srgbClr val="4B5264"/>
      </a:dk2>
      <a:lt2>
        <a:srgbClr val="FFFFFF"/>
      </a:lt2>
      <a:accent1>
        <a:srgbClr val="78BE20"/>
      </a:accent1>
      <a:accent2>
        <a:srgbClr val="00A3E0"/>
      </a:accent2>
      <a:accent3>
        <a:srgbClr val="002F6C"/>
      </a:accent3>
      <a:accent4>
        <a:srgbClr val="E57100"/>
      </a:accent4>
      <a:accent5>
        <a:srgbClr val="5385BB"/>
      </a:accent5>
      <a:accent6>
        <a:srgbClr val="007DB6"/>
      </a:accent6>
      <a:hlink>
        <a:srgbClr val="003565"/>
      </a:hlink>
      <a:folHlink>
        <a:srgbClr val="70A4D8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lnDef>
  </a:objectDefaults>
  <a:extraClrSchemeLst>
    <a:extraClrScheme>
      <a:clrScheme name="Blank Presentation 1">
        <a:dk1>
          <a:srgbClr val="505050"/>
        </a:dk1>
        <a:lt1>
          <a:srgbClr val="FFFFFF"/>
        </a:lt1>
        <a:dk2>
          <a:srgbClr val="BFE18D"/>
        </a:dk2>
        <a:lt2>
          <a:srgbClr val="7FC31C"/>
        </a:lt2>
        <a:accent1>
          <a:srgbClr val="09357A"/>
        </a:accent1>
        <a:accent2>
          <a:srgbClr val="2A8EBF"/>
        </a:accent2>
        <a:accent3>
          <a:srgbClr val="FFFFFF"/>
        </a:accent3>
        <a:accent4>
          <a:srgbClr val="434343"/>
        </a:accent4>
        <a:accent5>
          <a:srgbClr val="AAAEBE"/>
        </a:accent5>
        <a:accent6>
          <a:srgbClr val="2580AD"/>
        </a:accent6>
        <a:hlink>
          <a:srgbClr val="93C5DF"/>
        </a:hlink>
        <a:folHlink>
          <a:srgbClr val="237D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13:9 CANVAS Program Template">
  <a:themeElements>
    <a:clrScheme name="CANVAS V2">
      <a:dk1>
        <a:srgbClr val="00427A"/>
      </a:dk1>
      <a:lt1>
        <a:srgbClr val="FFFFFF"/>
      </a:lt1>
      <a:dk2>
        <a:srgbClr val="4B5264"/>
      </a:dk2>
      <a:lt2>
        <a:srgbClr val="FFFFFF"/>
      </a:lt2>
      <a:accent1>
        <a:srgbClr val="78BE20"/>
      </a:accent1>
      <a:accent2>
        <a:srgbClr val="00A3E0"/>
      </a:accent2>
      <a:accent3>
        <a:srgbClr val="002F6C"/>
      </a:accent3>
      <a:accent4>
        <a:srgbClr val="E57100"/>
      </a:accent4>
      <a:accent5>
        <a:srgbClr val="5385BB"/>
      </a:accent5>
      <a:accent6>
        <a:srgbClr val="007DB6"/>
      </a:accent6>
      <a:hlink>
        <a:srgbClr val="003565"/>
      </a:hlink>
      <a:folHlink>
        <a:srgbClr val="70A4D8"/>
      </a:folHlink>
    </a:clrScheme>
    <a:fontScheme name="Blank Presentat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lnDef>
  </a:objectDefaults>
  <a:extraClrSchemeLst>
    <a:extraClrScheme>
      <a:clrScheme name="Blank Presentation 1">
        <a:dk1>
          <a:srgbClr val="505050"/>
        </a:dk1>
        <a:lt1>
          <a:srgbClr val="FFFFFF"/>
        </a:lt1>
        <a:dk2>
          <a:srgbClr val="BFE18D"/>
        </a:dk2>
        <a:lt2>
          <a:srgbClr val="7FC31C"/>
        </a:lt2>
        <a:accent1>
          <a:srgbClr val="09357A"/>
        </a:accent1>
        <a:accent2>
          <a:srgbClr val="2A8EBF"/>
        </a:accent2>
        <a:accent3>
          <a:srgbClr val="FFFFFF"/>
        </a:accent3>
        <a:accent4>
          <a:srgbClr val="434343"/>
        </a:accent4>
        <a:accent5>
          <a:srgbClr val="AAAEBE"/>
        </a:accent5>
        <a:accent6>
          <a:srgbClr val="2580AD"/>
        </a:accent6>
        <a:hlink>
          <a:srgbClr val="93C5DF"/>
        </a:hlink>
        <a:folHlink>
          <a:srgbClr val="237D2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934</TotalTime>
  <Words>0</Words>
  <Application>Microsoft Macintosh PowerPoint</Application>
  <PresentationFormat>Widescreen</PresentationFormat>
  <Paragraphs>0</Paragraphs>
  <Slides>1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7</vt:i4>
      </vt:variant>
    </vt:vector>
  </HeadingPairs>
  <TitlesOfParts>
    <vt:vector size="125" baseType="lpstr">
      <vt:lpstr>Calibri</vt:lpstr>
      <vt:lpstr>ＭＳ Ｐゴシック</vt:lpstr>
      <vt:lpstr>Verdana</vt:lpstr>
      <vt:lpstr>Arial</vt:lpstr>
      <vt:lpstr>13:9 CANVAS Program Template</vt:lpstr>
      <vt:lpstr>Custom Design</vt:lpstr>
      <vt:lpstr>1_13:9 CANVAS Program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aina Mitsch</dc:creator>
  <cp:lastModifiedBy>Microsoft Office User</cp:lastModifiedBy>
  <cp:revision>439</cp:revision>
  <cp:lastPrinted>2017-07-06T18:16:28Z</cp:lastPrinted>
  <dcterms:created xsi:type="dcterms:W3CDTF">2017-01-18T18:55:55Z</dcterms:created>
  <dcterms:modified xsi:type="dcterms:W3CDTF">2017-09-26T14:14:24Z</dcterms:modified>
</cp:coreProperties>
</file>